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Metadata/LabelInfo.xml" ContentType="application/vnd.ms-office.classificationlabel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changesInfos/changesInfo1.xml" ContentType="application/vnd.ms-powerpoint.changesinfo+xml"/>
  <Override PartName="/ppt/comments/modernComment_7FFFCDD8_2DC5D16F.xml" ContentType="application/vnd.ms-powerpoint.comments+xml"/>
  <Override PartName="/ppt/diagrams/colors1.xml" ContentType="application/vnd.openxmlformats-officedocument.drawingml.diagramColors+xml"/>
  <Override PartName="/ppt/diagrams/data1.xml" ContentType="application/vnd.openxmlformats-officedocument.drawingml.diagramData+xml"/>
  <Override PartName="/ppt/diagrams/drawing1.xml" ContentType="application/vnd.ms-office.drawingml.diagramDrawing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media/image10.svg" ContentType="image/svg+xml"/>
  <Override PartName="/ppt/media/image31.svg" ContentType="image/svg+xml"/>
  <Override PartName="/ppt/media/image33.svg" ContentType="image/svg+xml"/>
  <Override PartName="/ppt/media/image35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</Types>
</file>

<file path=_rels/.rels><?xml version='1.0' encoding='UTF-8' standalone='yes'?>
<Relationships xmlns="http://schemas.openxmlformats.org/package/2006/relationships"><Relationship Id="rId1" Type="http://schemas.microsoft.com/office/2011/relationships/webextensiontaskpanes" Target="ppt/webextensions/taskpanes.xml"/><Relationship Id="rId2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6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4"/>
  </p:sldMasterIdLst>
  <p:notesMasterIdLst>
    <p:notesMasterId r:id="rId23"/>
  </p:notesMasterIdLst>
  <p:sldIdLst>
    <p:sldId id="2147475572" r:id="rId5"/>
    <p:sldId id="2147470799" r:id="rId6"/>
    <p:sldId id="265" r:id="rId7"/>
    <p:sldId id="2147470805" r:id="rId8"/>
    <p:sldId id="2147470806" r:id="rId9"/>
    <p:sldId id="2147470807" r:id="rId10"/>
    <p:sldId id="2147470808" r:id="rId11"/>
    <p:sldId id="2147470800" r:id="rId12"/>
    <p:sldId id="258" r:id="rId13"/>
    <p:sldId id="2147470810" r:id="rId14"/>
    <p:sldId id="2147470811" r:id="rId15"/>
    <p:sldId id="2147470804" r:id="rId16"/>
    <p:sldId id="2147475594" r:id="rId17"/>
    <p:sldId id="2147475595" r:id="rId18"/>
    <p:sldId id="2147470803" r:id="rId19"/>
    <p:sldId id="2147475589" r:id="rId20"/>
    <p:sldId id="2147470512" r:id="rId21"/>
    <p:sldId id="2147470777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B69A98D-628F-4ACF-AF18-0F7714CAC68D}">
          <p14:sldIdLst>
            <p14:sldId id="2147475572"/>
          </p14:sldIdLst>
        </p14:section>
        <p14:section name="Section 1" id="{29408ACB-07D4-47E6-92DF-BDEC59D3853B}">
          <p14:sldIdLst>
            <p14:sldId id="2147470799"/>
            <p14:sldId id="265"/>
            <p14:sldId id="2147470805"/>
            <p14:sldId id="2147470806"/>
            <p14:sldId id="2147470807"/>
            <p14:sldId id="2147470808"/>
            <p14:sldId id="2147470800"/>
            <p14:sldId id="258"/>
            <p14:sldId id="2147470810"/>
            <p14:sldId id="2147470811"/>
            <p14:sldId id="2147470804"/>
            <p14:sldId id="2147475594"/>
            <p14:sldId id="2147475595"/>
            <p14:sldId id="2147470803"/>
            <p14:sldId id="2147475589"/>
            <p14:sldId id="2147470512"/>
            <p14:sldId id="2147470777"/>
          </p14:sldIdLst>
        </p14:section>
      </p14:sectionLst>
    </p:ext>
    <p:ext uri="{EFAFB233-063F-42B5-8137-9DF3F51BA10A}">
      <p15:sldGuideLst xmlns:p15="http://schemas.microsoft.com/office/powerpoint/2012/main">
        <p15:guide id="1" pos="3795" userDrawn="1">
          <p15:clr>
            <a:srgbClr val="A4A3A4"/>
          </p15:clr>
        </p15:guide>
        <p15:guide id="2" orient="horz" pos="913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D864A01-FE78-8DE4-4C88-D1CEDECED5C1}" name="Aashish Pandey" initials="AP" userId="S::aashish@bluedataconsulting.in::341f317d-6b43-432f-b17f-fd51a4912ac2" providerId="AD"/>
  <p188:author id="{7BF29B3F-3C2F-7F11-ECF5-894873F8C38F}" name="Krishna  Patel" initials="" userId="S::krishna.patel@bluedataconsulting.in::ed2200d0-4eed-40c6-ab36-78bc62005773" providerId="AD"/>
  <p188:author id="{6BD92056-747C-FD22-006B-B2F26694C8CF}" name="Anshu Pandey" initials="AP" userId="S::anshu@bluedataconsulting.in::37883d53-0acc-4b4f-998c-de7c94b25306" providerId="AD"/>
  <p188:author id="{59C19559-3381-9F1C-7C24-7F0876E9125E}" name="Krishna Sharma" initials="KS" userId="S::krishna.sharma@bluedataconsulting.in::daa697d5-8440-4694-9c7d-792884c08b9c" providerId="AD"/>
  <p188:author id="{73F9C16E-582D-B5DC-3CC4-BFFFF13245FD}" name="Mitesh Bhaskar" initials="" userId="S::mitesh.bhaskar@bluedataconsulting.in::ca2e8610-5576-4b26-a6ed-a895aad45e14" providerId="AD"/>
  <p188:author id="{63E25781-A677-1478-D7CA-02F75A09B37E}" name="Pootheri Edakkat, Arjun" initials="AP" userId="S::pooth-ar@sg001.itgr.net::3db59a91-5efa-419e-8eec-63a74498b18c" providerId="AD"/>
  <p188:author id="{05E80391-D536-76D2-598A-D9595BD139D2}" name="Taksh Beladiya" initials="" userId="S::taksh.beladiya@bluedataconsulting.in::a5d5befd-6df2-498b-8ff4-17d31d8a5256" providerId="AD"/>
  <p188:author id="{E36005B2-E972-ACF5-6047-1BB9DDC08031}" name="Anand Singh" initials="AS" userId="S::anand.singh@bluedataconsulting.in::024e4842-ae34-4cb2-9023-4f477d26b9d9" providerId="AD"/>
  <p188:author id="{A369EBDC-006D-AFF1-D7F7-050B074D64A0}" name="Dange, Talash" initials="TD" userId="S::dange-ta@sg001.itgr.net::6a9e5253-268d-432b-83d6-3aa7e9992a18" providerId="AD"/>
  <p188:author id="{FCABC2F7-0639-80BF-CB0B-A8496E0F5E8B}" name="Divya Rank" initials="DR" userId="S::divya.rank@bluedataconsulting.in::8a86f94f-bc51-45b1-baba-7f5d3060729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FED"/>
    <a:srgbClr val="0046AD"/>
    <a:srgbClr val="BFBFBF"/>
    <a:srgbClr val="0B253B"/>
    <a:srgbClr val="646466"/>
    <a:srgbClr val="00298D"/>
    <a:srgbClr val="4382D2"/>
    <a:srgbClr val="EBFFFF"/>
    <a:srgbClr val="002289"/>
    <a:srgbClr val="78A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06E03E1-5C1C-4BC6-A786-1AE8975BA061}" v="28" dt="2025-07-25T09:02:57.1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929F9F4-4A8F-4326-A1B4-22849713DDAB}" styleName="Dark Style 1 –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E171933-4619-4E11-9A3F-F7608DF75F80}" styleName="Medium Style 1 –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1E4AEA4-8DFA-4A89-87EB-49C32662AFE0}" styleName="Medium Style 2 –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–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81" d="100"/>
          <a:sy n="81" d="100"/>
        </p:scale>
        <p:origin x="573" y="270"/>
      </p:cViewPr>
      <p:guideLst>
        <p:guide pos="3795"/>
        <p:guide orient="horz" pos="91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9" Type="http://schemas.openxmlformats.org/officeDocument/2006/relationships/slide" Target="slides/slide5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slide" Target="slides/slide14.xml"/><Relationship Id="rId19" Type="http://schemas.openxmlformats.org/officeDocument/2006/relationships/slide" Target="slides/slide15.xml"/><Relationship Id="rId20" Type="http://schemas.openxmlformats.org/officeDocument/2006/relationships/slide" Target="slides/slide16.xml"/><Relationship Id="rId21" Type="http://schemas.openxmlformats.org/officeDocument/2006/relationships/slide" Target="slides/slide17.xml"/><Relationship Id="rId22" Type="http://schemas.openxmlformats.org/officeDocument/2006/relationships/slide" Target="slides/slide18.xml"/><Relationship Id="rId23" Type="http://schemas.openxmlformats.org/officeDocument/2006/relationships/notesMaster" Target="notesMasters/notesMaster1.xml"/><Relationship Id="rId24" Type="http://schemas.openxmlformats.org/officeDocument/2006/relationships/presProps" Target="presProps.xml"/><Relationship Id="rId25" Type="http://schemas.openxmlformats.org/officeDocument/2006/relationships/viewProps" Target="viewProps.xml"/><Relationship Id="rId26" Type="http://schemas.openxmlformats.org/officeDocument/2006/relationships/theme" Target="theme/theme1.xml"/><Relationship Id="rId27" Type="http://schemas.openxmlformats.org/officeDocument/2006/relationships/tableStyles" Target="tableStyles.xml"/><Relationship Id="rId28" Type="http://schemas.microsoft.com/office/2016/11/relationships/changesInfo" Target="changesInfos/changesInfo1.xml"/><Relationship Id="rId29" Type="http://schemas.microsoft.com/office/2015/10/relationships/revisionInfo" Target="revisionInfo.xml"/><Relationship Id="rId30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ashish Pandey" userId="S::aashish@bluedataconsulting.in::341f317d-6b43-432f-b17f-fd51a4912ac2" providerId="AD" clId="Web-{75904A77-1726-4616-AA60-659CD3EE8049}"/>
    <pc:docChg chg="addSld delSld modSld">
      <pc:chgData name="Aashish Pandey" userId="S::aashish@bluedataconsulting.in::341f317d-6b43-432f-b17f-fd51a4912ac2" providerId="AD" clId="Web-{75904A77-1726-4616-AA60-659CD3EE8049}" dt="2025-07-15T16:45:47.602" v="99"/>
      <pc:docMkLst>
        <pc:docMk/>
      </pc:docMkLst>
      <pc:sldChg chg="addSp modSp mod modClrScheme chgLayout">
        <pc:chgData name="Aashish Pandey" userId="S::aashish@bluedataconsulting.in::341f317d-6b43-432f-b17f-fd51a4912ac2" providerId="AD" clId="Web-{75904A77-1726-4616-AA60-659CD3EE8049}" dt="2025-07-15T16:45:12.258" v="95"/>
        <pc:sldMkLst>
          <pc:docMk/>
          <pc:sldMk cId="2117587729" sldId="2147470799"/>
        </pc:sldMkLst>
        <pc:spChg chg="add mod ord">
          <ac:chgData name="Aashish Pandey" userId="S::aashish@bluedataconsulting.in::341f317d-6b43-432f-b17f-fd51a4912ac2" providerId="AD" clId="Web-{75904A77-1726-4616-AA60-659CD3EE8049}" dt="2025-07-15T16:45:05.320" v="94"/>
          <ac:spMkLst>
            <pc:docMk/>
            <pc:sldMk cId="2117587729" sldId="2147470799"/>
            <ac:spMk id="2" creationId="{F86F84D5-61F9-11D3-A3BA-D7AFC5B2E901}"/>
          </ac:spMkLst>
        </pc:spChg>
        <pc:spChg chg="mod ord">
          <ac:chgData name="Aashish Pandey" userId="S::aashish@bluedataconsulting.in::341f317d-6b43-432f-b17f-fd51a4912ac2" providerId="AD" clId="Web-{75904A77-1726-4616-AA60-659CD3EE8049}" dt="2025-07-15T16:45:12.258" v="95"/>
          <ac:spMkLst>
            <pc:docMk/>
            <pc:sldMk cId="2117587729" sldId="2147470799"/>
            <ac:spMk id="3" creationId="{C14534AF-0A98-BA2E-8440-D7F5EB512642}"/>
          </ac:spMkLst>
        </pc:spChg>
        <pc:spChg chg="mod ord">
          <ac:chgData name="Aashish Pandey" userId="S::aashish@bluedataconsulting.in::341f317d-6b43-432f-b17f-fd51a4912ac2" providerId="AD" clId="Web-{75904A77-1726-4616-AA60-659CD3EE8049}" dt="2025-07-15T16:45:12.258" v="95"/>
          <ac:spMkLst>
            <pc:docMk/>
            <pc:sldMk cId="2117587729" sldId="2147470799"/>
            <ac:spMk id="4" creationId="{9FEE8FD2-F054-64ED-77D9-54DEEAF5A438}"/>
          </ac:spMkLst>
        </pc:spChg>
        <pc:spChg chg="mod ord">
          <ac:chgData name="Aashish Pandey" userId="S::aashish@bluedataconsulting.in::341f317d-6b43-432f-b17f-fd51a4912ac2" providerId="AD" clId="Web-{75904A77-1726-4616-AA60-659CD3EE8049}" dt="2025-07-15T16:45:05.320" v="94"/>
          <ac:spMkLst>
            <pc:docMk/>
            <pc:sldMk cId="2117587729" sldId="2147470799"/>
            <ac:spMk id="5" creationId="{30DE1BFC-791F-6D33-B6D3-CBC1281E3504}"/>
          </ac:spMkLst>
        </pc:spChg>
        <pc:spChg chg="mod ord">
          <ac:chgData name="Aashish Pandey" userId="S::aashish@bluedataconsulting.in::341f317d-6b43-432f-b17f-fd51a4912ac2" providerId="AD" clId="Web-{75904A77-1726-4616-AA60-659CD3EE8049}" dt="2025-07-15T16:45:12.258" v="95"/>
          <ac:spMkLst>
            <pc:docMk/>
            <pc:sldMk cId="2117587729" sldId="2147470799"/>
            <ac:spMk id="6" creationId="{C587FD87-63BB-2440-44A7-2A8C5D967429}"/>
          </ac:spMkLst>
        </pc:spChg>
        <pc:spChg chg="mod ord">
          <ac:chgData name="Aashish Pandey" userId="S::aashish@bluedataconsulting.in::341f317d-6b43-432f-b17f-fd51a4912ac2" providerId="AD" clId="Web-{75904A77-1726-4616-AA60-659CD3EE8049}" dt="2025-07-15T16:45:12.258" v="95"/>
          <ac:spMkLst>
            <pc:docMk/>
            <pc:sldMk cId="2117587729" sldId="2147470799"/>
            <ac:spMk id="7" creationId="{DDB3485D-D5D1-DC86-E74D-6B5E79E1375E}"/>
          </ac:spMkLst>
        </pc:spChg>
        <pc:spChg chg="add mod ord">
          <ac:chgData name="Aashish Pandey" userId="S::aashish@bluedataconsulting.in::341f317d-6b43-432f-b17f-fd51a4912ac2" providerId="AD" clId="Web-{75904A77-1726-4616-AA60-659CD3EE8049}" dt="2025-07-15T16:45:12.258" v="95"/>
          <ac:spMkLst>
            <pc:docMk/>
            <pc:sldMk cId="2117587729" sldId="2147470799"/>
            <ac:spMk id="8" creationId="{0AAE58CF-DE77-B294-A0A7-DCD7807AEC0C}"/>
          </ac:spMkLst>
        </pc:spChg>
        <pc:spChg chg="mod ord">
          <ac:chgData name="Aashish Pandey" userId="S::aashish@bluedataconsulting.in::341f317d-6b43-432f-b17f-fd51a4912ac2" providerId="AD" clId="Web-{75904A77-1726-4616-AA60-659CD3EE8049}" dt="2025-07-15T16:45:12.258" v="95"/>
          <ac:spMkLst>
            <pc:docMk/>
            <pc:sldMk cId="2117587729" sldId="2147470799"/>
            <ac:spMk id="22" creationId="{F3C6F89E-5450-66FB-EF16-7AD0177597C1}"/>
          </ac:spMkLst>
        </pc:spChg>
        <pc:spChg chg="mod ord">
          <ac:chgData name="Aashish Pandey" userId="S::aashish@bluedataconsulting.in::341f317d-6b43-432f-b17f-fd51a4912ac2" providerId="AD" clId="Web-{75904A77-1726-4616-AA60-659CD3EE8049}" dt="2025-07-15T16:45:12.258" v="95"/>
          <ac:spMkLst>
            <pc:docMk/>
            <pc:sldMk cId="2117587729" sldId="2147470799"/>
            <ac:spMk id="23" creationId="{51AC55D1-1B73-C7BE-743A-FA26A5BC9607}"/>
          </ac:spMkLst>
        </pc:spChg>
        <pc:spChg chg="mod ord">
          <ac:chgData name="Aashish Pandey" userId="S::aashish@bluedataconsulting.in::341f317d-6b43-432f-b17f-fd51a4912ac2" providerId="AD" clId="Web-{75904A77-1726-4616-AA60-659CD3EE8049}" dt="2025-07-15T16:45:12.258" v="95"/>
          <ac:spMkLst>
            <pc:docMk/>
            <pc:sldMk cId="2117587729" sldId="2147470799"/>
            <ac:spMk id="24" creationId="{E0921634-962A-89EC-4AEE-FE11875BF8F4}"/>
          </ac:spMkLst>
        </pc:spChg>
        <pc:spChg chg="mod ord">
          <ac:chgData name="Aashish Pandey" userId="S::aashish@bluedataconsulting.in::341f317d-6b43-432f-b17f-fd51a4912ac2" providerId="AD" clId="Web-{75904A77-1726-4616-AA60-659CD3EE8049}" dt="2025-07-15T16:45:05.320" v="94"/>
          <ac:spMkLst>
            <pc:docMk/>
            <pc:sldMk cId="2117587729" sldId="2147470799"/>
            <ac:spMk id="25" creationId="{0EC72F25-CCEA-35CB-2E66-3D371F9ACA94}"/>
          </ac:spMkLst>
        </pc:spChg>
        <pc:spChg chg="mod ord">
          <ac:chgData name="Aashish Pandey" userId="S::aashish@bluedataconsulting.in::341f317d-6b43-432f-b17f-fd51a4912ac2" providerId="AD" clId="Web-{75904A77-1726-4616-AA60-659CD3EE8049}" dt="2025-07-15T16:45:12.258" v="95"/>
          <ac:spMkLst>
            <pc:docMk/>
            <pc:sldMk cId="2117587729" sldId="2147470799"/>
            <ac:spMk id="26" creationId="{CE6C12A3-997A-2A23-DA8D-4F69B3ED3729}"/>
          </ac:spMkLst>
        </pc:spChg>
      </pc:sldChg>
      <pc:sldChg chg="del">
        <pc:chgData name="Aashish Pandey" userId="S::aashish@bluedataconsulting.in::341f317d-6b43-432f-b17f-fd51a4912ac2" providerId="AD" clId="Web-{75904A77-1726-4616-AA60-659CD3EE8049}" dt="2025-07-15T16:43:56.194" v="89"/>
        <pc:sldMkLst>
          <pc:docMk/>
          <pc:sldMk cId="1111822000" sldId="2147475584"/>
        </pc:sldMkLst>
      </pc:sldChg>
      <pc:sldChg chg="add del">
        <pc:chgData name="Aashish Pandey" userId="S::aashish@bluedataconsulting.in::341f317d-6b43-432f-b17f-fd51a4912ac2" providerId="AD" clId="Web-{75904A77-1726-4616-AA60-659CD3EE8049}" dt="2025-07-15T16:45:34.586" v="97"/>
        <pc:sldMkLst>
          <pc:docMk/>
          <pc:sldMk cId="648027833" sldId="2147475598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080" v="1"/>
        <pc:sldMkLst>
          <pc:docMk/>
          <pc:sldMk cId="646900149" sldId="2147475599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112" v="2"/>
        <pc:sldMkLst>
          <pc:docMk/>
          <pc:sldMk cId="1375571662" sldId="2147475600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127" v="3"/>
        <pc:sldMkLst>
          <pc:docMk/>
          <pc:sldMk cId="1757946900" sldId="2147475601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143" v="4"/>
        <pc:sldMkLst>
          <pc:docMk/>
          <pc:sldMk cId="2239870090" sldId="2147475602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159" v="5"/>
        <pc:sldMkLst>
          <pc:docMk/>
          <pc:sldMk cId="2636204081" sldId="2147475603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190" v="6"/>
        <pc:sldMkLst>
          <pc:docMk/>
          <pc:sldMk cId="1933680618" sldId="2147475604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205" v="7"/>
        <pc:sldMkLst>
          <pc:docMk/>
          <pc:sldMk cId="3353579192" sldId="2147475605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221" v="8"/>
        <pc:sldMkLst>
          <pc:docMk/>
          <pc:sldMk cId="1122767912" sldId="2147475606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252" v="9"/>
        <pc:sldMkLst>
          <pc:docMk/>
          <pc:sldMk cId="752364869" sldId="2147475607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268" v="10"/>
        <pc:sldMkLst>
          <pc:docMk/>
          <pc:sldMk cId="1395752115" sldId="2147475608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299" v="11"/>
        <pc:sldMkLst>
          <pc:docMk/>
          <pc:sldMk cId="1529666782" sldId="2147475609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315" v="12"/>
        <pc:sldMkLst>
          <pc:docMk/>
          <pc:sldMk cId="775880917" sldId="2147475610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330" v="13"/>
        <pc:sldMkLst>
          <pc:docMk/>
          <pc:sldMk cId="956989424" sldId="2147475611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377" v="14"/>
        <pc:sldMkLst>
          <pc:docMk/>
          <pc:sldMk cId="1717406114" sldId="2147475612"/>
        </pc:sldMkLst>
      </pc:sldChg>
      <pc:sldChg chg="add del">
        <pc:chgData name="Aashish Pandey" userId="S::aashish@bluedataconsulting.in::341f317d-6b43-432f-b17f-fd51a4912ac2" providerId="AD" clId="Web-{75904A77-1726-4616-AA60-659CD3EE8049}" dt="2025-07-15T16:44:22.022" v="93"/>
        <pc:sldMkLst>
          <pc:docMk/>
          <pc:sldMk cId="428423831" sldId="2147475613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502" v="16"/>
        <pc:sldMkLst>
          <pc:docMk/>
          <pc:sldMk cId="469183570" sldId="2147475614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549" v="17"/>
        <pc:sldMkLst>
          <pc:docMk/>
          <pc:sldMk cId="3911566123" sldId="2147475615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580" v="18"/>
        <pc:sldMkLst>
          <pc:docMk/>
          <pc:sldMk cId="1781220005" sldId="2147475616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596" v="19"/>
        <pc:sldMkLst>
          <pc:docMk/>
          <pc:sldMk cId="3164243038" sldId="2147475617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612" v="20"/>
        <pc:sldMkLst>
          <pc:docMk/>
          <pc:sldMk cId="1903098560" sldId="2147475618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627" v="21"/>
        <pc:sldMkLst>
          <pc:docMk/>
          <pc:sldMk cId="4019409204" sldId="2147475619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659" v="22"/>
        <pc:sldMkLst>
          <pc:docMk/>
          <pc:sldMk cId="4003703235" sldId="2147475620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674" v="23"/>
        <pc:sldMkLst>
          <pc:docMk/>
          <pc:sldMk cId="3798911062" sldId="2147475621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737" v="24"/>
        <pc:sldMkLst>
          <pc:docMk/>
          <pc:sldMk cId="3742440379" sldId="2147475622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752" v="25"/>
        <pc:sldMkLst>
          <pc:docMk/>
          <pc:sldMk cId="315205713" sldId="2147475623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784" v="26"/>
        <pc:sldMkLst>
          <pc:docMk/>
          <pc:sldMk cId="1719978085" sldId="2147475624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815" v="27"/>
        <pc:sldMkLst>
          <pc:docMk/>
          <pc:sldMk cId="2176518984" sldId="2147475625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846" v="28"/>
        <pc:sldMkLst>
          <pc:docMk/>
          <pc:sldMk cId="258754120" sldId="2147475626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862" v="29"/>
        <pc:sldMkLst>
          <pc:docMk/>
          <pc:sldMk cId="2446588007" sldId="2147475627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877" v="30"/>
        <pc:sldMkLst>
          <pc:docMk/>
          <pc:sldMk cId="2734229790" sldId="2147475628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909" v="31"/>
        <pc:sldMkLst>
          <pc:docMk/>
          <pc:sldMk cId="4067397847" sldId="2147475629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924" v="32"/>
        <pc:sldMkLst>
          <pc:docMk/>
          <pc:sldMk cId="2179393311" sldId="2147475630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940" v="33"/>
        <pc:sldMkLst>
          <pc:docMk/>
          <pc:sldMk cId="3450008008" sldId="2147475631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955" v="34"/>
        <pc:sldMkLst>
          <pc:docMk/>
          <pc:sldMk cId="2074417893" sldId="2147475632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987" v="35"/>
        <pc:sldMkLst>
          <pc:docMk/>
          <pc:sldMk cId="357655941" sldId="2147475633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10.002" v="36"/>
        <pc:sldMkLst>
          <pc:docMk/>
          <pc:sldMk cId="551477293" sldId="2147475634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10.018" v="37"/>
        <pc:sldMkLst>
          <pc:docMk/>
          <pc:sldMk cId="2909890247" sldId="2147475635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10.049" v="38"/>
        <pc:sldMkLst>
          <pc:docMk/>
          <pc:sldMk cId="1245057207" sldId="2147475636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10.065" v="39"/>
        <pc:sldMkLst>
          <pc:docMk/>
          <pc:sldMk cId="1440384364" sldId="2147475637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10.096" v="40"/>
        <pc:sldMkLst>
          <pc:docMk/>
          <pc:sldMk cId="1749280861" sldId="2147475638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10.112" v="41"/>
        <pc:sldMkLst>
          <pc:docMk/>
          <pc:sldMk cId="383934603" sldId="2147475639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10.127" v="42"/>
        <pc:sldMkLst>
          <pc:docMk/>
          <pc:sldMk cId="3861098367" sldId="2147475640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10.143" v="43"/>
        <pc:sldMkLst>
          <pc:docMk/>
          <pc:sldMk cId="2083972876" sldId="2147475641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10.174" v="44"/>
        <pc:sldMkLst>
          <pc:docMk/>
          <pc:sldMk cId="2128774158" sldId="2147475642"/>
        </pc:sldMkLst>
      </pc:sldChg>
      <pc:sldChg chg="add replId">
        <pc:chgData name="Aashish Pandey" userId="S::aashish@bluedataconsulting.in::341f317d-6b43-432f-b17f-fd51a4912ac2" providerId="AD" clId="Web-{75904A77-1726-4616-AA60-659CD3EE8049}" dt="2025-07-15T16:43:53.662" v="88"/>
        <pc:sldMkLst>
          <pc:docMk/>
          <pc:sldMk cId="335322867" sldId="2147475643"/>
        </pc:sldMkLst>
      </pc:sldChg>
      <pc:sldChg chg="add del">
        <pc:chgData name="Aashish Pandey" userId="S::aashish@bluedataconsulting.in::341f317d-6b43-432f-b17f-fd51a4912ac2" providerId="AD" clId="Web-{75904A77-1726-4616-AA60-659CD3EE8049}" dt="2025-07-15T16:44:11.913" v="91"/>
        <pc:sldMkLst>
          <pc:docMk/>
          <pc:sldMk cId="1111822000" sldId="2147475644"/>
        </pc:sldMkLst>
      </pc:sldChg>
      <pc:sldChg chg="add del replId">
        <pc:chgData name="Aashish Pandey" userId="S::aashish@bluedataconsulting.in::341f317d-6b43-432f-b17f-fd51a4912ac2" providerId="AD" clId="Web-{75904A77-1726-4616-AA60-659CD3EE8049}" dt="2025-07-15T16:45:47.602" v="99"/>
        <pc:sldMkLst>
          <pc:docMk/>
          <pc:sldMk cId="2221425557" sldId="2147475644"/>
        </pc:sldMkLst>
      </pc:sldChg>
      <pc:sldChg chg="add replId">
        <pc:chgData name="Aashish Pandey" userId="S::aashish@bluedataconsulting.in::341f317d-6b43-432f-b17f-fd51a4912ac2" providerId="AD" clId="Web-{75904A77-1726-4616-AA60-659CD3EE8049}" dt="2025-07-15T16:45:31.664" v="96"/>
        <pc:sldMkLst>
          <pc:docMk/>
          <pc:sldMk cId="3601332305" sldId="2147475645"/>
        </pc:sldMkLst>
      </pc:sldChg>
      <pc:sldChg chg="add replId">
        <pc:chgData name="Aashish Pandey" userId="S::aashish@bluedataconsulting.in::341f317d-6b43-432f-b17f-fd51a4912ac2" providerId="AD" clId="Web-{75904A77-1726-4616-AA60-659CD3EE8049}" dt="2025-07-15T16:45:46.133" v="98"/>
        <pc:sldMkLst>
          <pc:docMk/>
          <pc:sldMk cId="71159453" sldId="2147475646"/>
        </pc:sldMkLst>
      </pc:sldChg>
    </pc:docChg>
  </pc:docChgLst>
  <pc:docChgLst>
    <pc:chgData name="Divya Rank" userId="8a86f94f-bc51-45b1-baba-7f5d30607298" providerId="ADAL" clId="{6209AB1D-13AD-40CE-B0EF-16BB425EE36C}"/>
    <pc:docChg chg="custSel delSld modSld addSection delSection modSection">
      <pc:chgData name="Divya Rank" userId="8a86f94f-bc51-45b1-baba-7f5d30607298" providerId="ADAL" clId="{6209AB1D-13AD-40CE-B0EF-16BB425EE36C}" dt="2025-07-16T12:04:01.168" v="298"/>
      <pc:docMkLst>
        <pc:docMk/>
      </pc:docMkLst>
      <pc:sldChg chg="delSp mod setBg">
        <pc:chgData name="Divya Rank" userId="8a86f94f-bc51-45b1-baba-7f5d30607298" providerId="ADAL" clId="{6209AB1D-13AD-40CE-B0EF-16BB425EE36C}" dt="2025-07-16T11:52:42.214" v="243"/>
        <pc:sldMkLst>
          <pc:docMk/>
          <pc:sldMk cId="2277864623" sldId="265"/>
        </pc:sldMkLst>
      </pc:sldChg>
      <pc:sldChg chg="setBg">
        <pc:chgData name="Divya Rank" userId="8a86f94f-bc51-45b1-baba-7f5d30607298" providerId="ADAL" clId="{6209AB1D-13AD-40CE-B0EF-16BB425EE36C}" dt="2025-07-16T11:52:32.792" v="241"/>
        <pc:sldMkLst>
          <pc:docMk/>
          <pc:sldMk cId="94697914" sldId="2147470690"/>
        </pc:sldMkLst>
      </pc:sldChg>
      <pc:sldChg chg="addSp delSp modSp mod">
        <pc:chgData name="Divya Rank" userId="8a86f94f-bc51-45b1-baba-7f5d30607298" providerId="ADAL" clId="{6209AB1D-13AD-40CE-B0EF-16BB425EE36C}" dt="2025-07-16T11:51:10.993" v="225" actId="34135"/>
        <pc:sldMkLst>
          <pc:docMk/>
          <pc:sldMk cId="2117587729" sldId="2147470799"/>
        </pc:sldMkLst>
        <pc:picChg chg="add mod">
          <ac:chgData name="Divya Rank" userId="8a86f94f-bc51-45b1-baba-7f5d30607298" providerId="ADAL" clId="{6209AB1D-13AD-40CE-B0EF-16BB425EE36C}" dt="2025-07-16T11:51:10.993" v="225" actId="34135"/>
          <ac:picMkLst>
            <pc:docMk/>
            <pc:sldMk cId="2117587729" sldId="2147470799"/>
            <ac:picMk id="1032" creationId="{B7333FD8-6723-9BDE-7C5D-103B1196DB3B}"/>
          </ac:picMkLst>
        </pc:picChg>
      </pc:sldChg>
      <pc:sldChg chg="modSp">
        <pc:chgData name="Divya Rank" userId="8a86f94f-bc51-45b1-baba-7f5d30607298" providerId="ADAL" clId="{6209AB1D-13AD-40CE-B0EF-16BB425EE36C}" dt="2025-07-16T12:02:19.249" v="273" actId="6549"/>
        <pc:sldMkLst>
          <pc:docMk/>
          <pc:sldMk cId="2434597008" sldId="2147474956"/>
        </pc:sldMkLst>
        <pc:spChg chg="mod">
          <ac:chgData name="Divya Rank" userId="8a86f94f-bc51-45b1-baba-7f5d30607298" providerId="ADAL" clId="{6209AB1D-13AD-40CE-B0EF-16BB425EE36C}" dt="2025-07-16T12:02:19.249" v="273" actId="6549"/>
          <ac:spMkLst>
            <pc:docMk/>
            <pc:sldMk cId="2434597008" sldId="2147474956"/>
            <ac:spMk id="10" creationId="{9C338B1A-4B79-B4DB-DBD6-F8ECCC5F9855}"/>
          </ac:spMkLst>
        </pc:spChg>
      </pc:sldChg>
      <pc:sldChg chg="modSp">
        <pc:chgData name="Divya Rank" userId="8a86f94f-bc51-45b1-baba-7f5d30607298" providerId="ADAL" clId="{6209AB1D-13AD-40CE-B0EF-16BB425EE36C}" dt="2025-07-16T12:02:06.149" v="271" actId="6549"/>
        <pc:sldMkLst>
          <pc:docMk/>
          <pc:sldMk cId="2607678833" sldId="2147475321"/>
        </pc:sldMkLst>
        <pc:spChg chg="mod">
          <ac:chgData name="Divya Rank" userId="8a86f94f-bc51-45b1-baba-7f5d30607298" providerId="ADAL" clId="{6209AB1D-13AD-40CE-B0EF-16BB425EE36C}" dt="2025-07-16T12:02:06.149" v="271" actId="6549"/>
          <ac:spMkLst>
            <pc:docMk/>
            <pc:sldMk cId="2607678833" sldId="2147475321"/>
            <ac:spMk id="10" creationId="{6A88E95E-73BC-B243-A32F-1948B543998A}"/>
          </ac:spMkLst>
        </pc:spChg>
      </pc:sldChg>
      <pc:sldChg chg="delSp modSp mod">
        <pc:chgData name="Divya Rank" userId="8a86f94f-bc51-45b1-baba-7f5d30607298" providerId="ADAL" clId="{6209AB1D-13AD-40CE-B0EF-16BB425EE36C}" dt="2025-07-16T12:04:01.168" v="298"/>
        <pc:sldMkLst>
          <pc:docMk/>
          <pc:sldMk cId="2392527415" sldId="2147475572"/>
        </pc:sldMkLst>
        <pc:spChg chg="mod">
          <ac:chgData name="Divya Rank" userId="8a86f94f-bc51-45b1-baba-7f5d30607298" providerId="ADAL" clId="{6209AB1D-13AD-40CE-B0EF-16BB425EE36C}" dt="2025-07-16T12:03:49.414" v="297" actId="1036"/>
          <ac:spMkLst>
            <pc:docMk/>
            <pc:sldMk cId="2392527415" sldId="2147475572"/>
            <ac:spMk id="6" creationId="{E2244DA4-9477-0C33-75D0-85B3B1E14F82}"/>
          </ac:spMkLst>
        </pc:spChg>
        <pc:spChg chg="mod">
          <ac:chgData name="Divya Rank" userId="8a86f94f-bc51-45b1-baba-7f5d30607298" providerId="ADAL" clId="{6209AB1D-13AD-40CE-B0EF-16BB425EE36C}" dt="2025-07-16T12:04:01.168" v="298"/>
          <ac:spMkLst>
            <pc:docMk/>
            <pc:sldMk cId="2392527415" sldId="2147475572"/>
            <ac:spMk id="7" creationId="{BA213478-AD03-12F7-EEDA-7B10ABFCF4CF}"/>
          </ac:spMkLst>
        </pc:spChg>
        <pc:spChg chg="mod">
          <ac:chgData name="Divya Rank" userId="8a86f94f-bc51-45b1-baba-7f5d30607298" providerId="ADAL" clId="{6209AB1D-13AD-40CE-B0EF-16BB425EE36C}" dt="2025-07-16T12:03:49.414" v="297" actId="1036"/>
          <ac:spMkLst>
            <pc:docMk/>
            <pc:sldMk cId="2392527415" sldId="2147475572"/>
            <ac:spMk id="8" creationId="{954CBCB2-2376-D81F-D886-B0CC40546452}"/>
          </ac:spMkLst>
        </pc:spChg>
        <pc:picChg chg="mod">
          <ac:chgData name="Divya Rank" userId="8a86f94f-bc51-45b1-baba-7f5d30607298" providerId="ADAL" clId="{6209AB1D-13AD-40CE-B0EF-16BB425EE36C}" dt="2025-07-16T11:07:58.949" v="142" actId="34135"/>
          <ac:picMkLst>
            <pc:docMk/>
            <pc:sldMk cId="2392527415" sldId="2147475572"/>
            <ac:picMk id="23" creationId="{13E8B1A9-D6B6-754B-7B29-46CD6C603439}"/>
          </ac:picMkLst>
        </pc:picChg>
      </pc:sldChg>
      <pc:sldChg chg="modSp">
        <pc:chgData name="Divya Rank" userId="8a86f94f-bc51-45b1-baba-7f5d30607298" providerId="ADAL" clId="{6209AB1D-13AD-40CE-B0EF-16BB425EE36C}" dt="2025-07-16T12:01:57.738" v="269" actId="6549"/>
        <pc:sldMkLst>
          <pc:docMk/>
          <pc:sldMk cId="1785137266" sldId="2147475588"/>
        </pc:sldMkLst>
        <pc:spChg chg="mod">
          <ac:chgData name="Divya Rank" userId="8a86f94f-bc51-45b1-baba-7f5d30607298" providerId="ADAL" clId="{6209AB1D-13AD-40CE-B0EF-16BB425EE36C}" dt="2025-07-16T12:01:57.738" v="269" actId="6549"/>
          <ac:spMkLst>
            <pc:docMk/>
            <pc:sldMk cId="1785137266" sldId="2147475588"/>
            <ac:spMk id="3" creationId="{CE0BA942-6849-777B-C33D-01CCEED6CC6D}"/>
          </ac:spMkLst>
        </pc:spChg>
      </pc:sldChg>
      <pc:sldChg chg="modSp mod">
        <pc:chgData name="Divya Rank" userId="8a86f94f-bc51-45b1-baba-7f5d30607298" providerId="ADAL" clId="{6209AB1D-13AD-40CE-B0EF-16BB425EE36C}" dt="2025-07-16T12:00:50.233" v="260" actId="1035"/>
        <pc:sldMkLst>
          <pc:docMk/>
          <pc:sldMk cId="3742440379" sldId="2147475622"/>
        </pc:sldMkLst>
        <pc:spChg chg="mod">
          <ac:chgData name="Divya Rank" userId="8a86f94f-bc51-45b1-baba-7f5d30607298" providerId="ADAL" clId="{6209AB1D-13AD-40CE-B0EF-16BB425EE36C}" dt="2025-07-16T12:00:50.233" v="260" actId="1035"/>
          <ac:spMkLst>
            <pc:docMk/>
            <pc:sldMk cId="3742440379" sldId="2147475622"/>
            <ac:spMk id="3" creationId="{EADF2187-9DA5-6F2B-322C-4F5CB6B5BC81}"/>
          </ac:spMkLst>
        </pc:spChg>
      </pc:sldChg>
      <pc:sldChg chg="modSp mod">
        <pc:chgData name="Divya Rank" userId="8a86f94f-bc51-45b1-baba-7f5d30607298" providerId="ADAL" clId="{6209AB1D-13AD-40CE-B0EF-16BB425EE36C}" dt="2025-07-16T12:00:41.106" v="259" actId="1037"/>
        <pc:sldMkLst>
          <pc:docMk/>
          <pc:sldMk cId="315205713" sldId="2147475623"/>
        </pc:sldMkLst>
        <pc:spChg chg="mod">
          <ac:chgData name="Divya Rank" userId="8a86f94f-bc51-45b1-baba-7f5d30607298" providerId="ADAL" clId="{6209AB1D-13AD-40CE-B0EF-16BB425EE36C}" dt="2025-07-16T12:00:41.106" v="259" actId="1037"/>
          <ac:spMkLst>
            <pc:docMk/>
            <pc:sldMk cId="315205713" sldId="2147475623"/>
            <ac:spMk id="3" creationId="{D0AB9DD3-654C-DE3D-C77C-70EC895884B5}"/>
          </ac:spMkLst>
        </pc:spChg>
      </pc:sldChg>
      <pc:sldChg chg="modSp mod">
        <pc:chgData name="Divya Rank" userId="8a86f94f-bc51-45b1-baba-7f5d30607298" providerId="ADAL" clId="{6209AB1D-13AD-40CE-B0EF-16BB425EE36C}" dt="2025-07-16T12:00:53.398" v="261" actId="1035"/>
        <pc:sldMkLst>
          <pc:docMk/>
          <pc:sldMk cId="1719978085" sldId="2147475624"/>
        </pc:sldMkLst>
        <pc:spChg chg="mod">
          <ac:chgData name="Divya Rank" userId="8a86f94f-bc51-45b1-baba-7f5d30607298" providerId="ADAL" clId="{6209AB1D-13AD-40CE-B0EF-16BB425EE36C}" dt="2025-07-16T12:00:53.398" v="261" actId="1035"/>
          <ac:spMkLst>
            <pc:docMk/>
            <pc:sldMk cId="1719978085" sldId="2147475624"/>
            <ac:spMk id="3" creationId="{E664F8CA-22B3-3157-7846-E8EF3B4B08AA}"/>
          </ac:spMkLst>
        </pc:spChg>
      </pc:sldChg>
      <pc:sldChg chg="modSp mod">
        <pc:chgData name="Divya Rank" userId="8a86f94f-bc51-45b1-baba-7f5d30607298" providerId="ADAL" clId="{6209AB1D-13AD-40CE-B0EF-16BB425EE36C}" dt="2025-07-16T12:00:59.547" v="262" actId="1035"/>
        <pc:sldMkLst>
          <pc:docMk/>
          <pc:sldMk cId="2734229790" sldId="2147475628"/>
        </pc:sldMkLst>
        <pc:spChg chg="mod">
          <ac:chgData name="Divya Rank" userId="8a86f94f-bc51-45b1-baba-7f5d30607298" providerId="ADAL" clId="{6209AB1D-13AD-40CE-B0EF-16BB425EE36C}" dt="2025-07-16T12:00:59.547" v="262" actId="1035"/>
          <ac:spMkLst>
            <pc:docMk/>
            <pc:sldMk cId="2734229790" sldId="2147475628"/>
            <ac:spMk id="3" creationId="{58D8D125-48CC-8B8C-1677-098FE583AEB9}"/>
          </ac:spMkLst>
        </pc:spChg>
      </pc:sldChg>
      <pc:sldChg chg="modSp mod">
        <pc:chgData name="Divya Rank" userId="8a86f94f-bc51-45b1-baba-7f5d30607298" providerId="ADAL" clId="{6209AB1D-13AD-40CE-B0EF-16BB425EE36C}" dt="2025-07-16T12:01:03.561" v="264" actId="1036"/>
        <pc:sldMkLst>
          <pc:docMk/>
          <pc:sldMk cId="4067397847" sldId="2147475629"/>
        </pc:sldMkLst>
        <pc:spChg chg="mod">
          <ac:chgData name="Divya Rank" userId="8a86f94f-bc51-45b1-baba-7f5d30607298" providerId="ADAL" clId="{6209AB1D-13AD-40CE-B0EF-16BB425EE36C}" dt="2025-07-16T12:01:03.561" v="264" actId="1036"/>
          <ac:spMkLst>
            <pc:docMk/>
            <pc:sldMk cId="4067397847" sldId="2147475629"/>
            <ac:spMk id="3" creationId="{E495C5DC-2795-DBB5-B50F-61DCAA877290}"/>
          </ac:spMkLst>
        </pc:spChg>
      </pc:sldChg>
      <pc:sldChg chg="modSp mod">
        <pc:chgData name="Divya Rank" userId="8a86f94f-bc51-45b1-baba-7f5d30607298" providerId="ADAL" clId="{6209AB1D-13AD-40CE-B0EF-16BB425EE36C}" dt="2025-07-16T11:53:45.534" v="251" actId="1038"/>
        <pc:sldMkLst>
          <pc:docMk/>
          <pc:sldMk cId="1440384364" sldId="2147475637"/>
        </pc:sldMkLst>
        <pc:graphicFrameChg chg="mod">
          <ac:chgData name="Divya Rank" userId="8a86f94f-bc51-45b1-baba-7f5d30607298" providerId="ADAL" clId="{6209AB1D-13AD-40CE-B0EF-16BB425EE36C}" dt="2025-07-16T11:53:45.534" v="251" actId="1038"/>
          <ac:graphicFrameMkLst>
            <pc:docMk/>
            <pc:sldMk cId="1440384364" sldId="2147475637"/>
            <ac:graphicFrameMk id="7" creationId="{307F7849-E57F-3C21-A432-D287C18FF5D4}"/>
          </ac:graphicFrameMkLst>
        </pc:graphicFrameChg>
      </pc:sldChg>
      <pc:sldChg chg="modSp mod">
        <pc:chgData name="Divya Rank" userId="8a86f94f-bc51-45b1-baba-7f5d30607298" providerId="ADAL" clId="{6209AB1D-13AD-40CE-B0EF-16BB425EE36C}" dt="2025-07-16T11:53:53.222" v="252" actId="1038"/>
        <pc:sldMkLst>
          <pc:docMk/>
          <pc:sldMk cId="1749280861" sldId="2147475638"/>
        </pc:sldMkLst>
        <pc:graphicFrameChg chg="mod">
          <ac:chgData name="Divya Rank" userId="8a86f94f-bc51-45b1-baba-7f5d30607298" providerId="ADAL" clId="{6209AB1D-13AD-40CE-B0EF-16BB425EE36C}" dt="2025-07-16T11:53:53.222" v="252" actId="1038"/>
          <ac:graphicFrameMkLst>
            <pc:docMk/>
            <pc:sldMk cId="1749280861" sldId="2147475638"/>
            <ac:graphicFrameMk id="8" creationId="{DB70C866-2BDC-7B07-5E7A-1D53012BCB8A}"/>
          </ac:graphicFrameMkLst>
        </pc:graphicFrameChg>
      </pc:sldChg>
      <pc:sldChg chg="addSp delSp modSp mod">
        <pc:chgData name="Divya Rank" userId="8a86f94f-bc51-45b1-baba-7f5d30607298" providerId="ADAL" clId="{6209AB1D-13AD-40CE-B0EF-16BB425EE36C}" dt="2025-07-16T11:49:40.547" v="222" actId="34135"/>
        <pc:sldMkLst>
          <pc:docMk/>
          <pc:sldMk cId="335322867" sldId="2147475643"/>
        </pc:sldMkLst>
        <pc:picChg chg="add mod">
          <ac:chgData name="Divya Rank" userId="8a86f94f-bc51-45b1-baba-7f5d30607298" providerId="ADAL" clId="{6209AB1D-13AD-40CE-B0EF-16BB425EE36C}" dt="2025-07-16T11:49:40.547" v="222" actId="34135"/>
          <ac:picMkLst>
            <pc:docMk/>
            <pc:sldMk cId="335322867" sldId="2147475643"/>
            <ac:picMk id="15" creationId="{2344EA4E-4201-EBB5-6D41-D8504CFAD2B2}"/>
          </ac:picMkLst>
        </pc:picChg>
      </pc:sldChg>
      <pc:sldChg chg="addSp delSp modSp mod">
        <pc:chgData name="Divya Rank" userId="8a86f94f-bc51-45b1-baba-7f5d30607298" providerId="ADAL" clId="{6209AB1D-13AD-40CE-B0EF-16BB425EE36C}" dt="2025-07-16T11:51:37.709" v="228" actId="34135"/>
        <pc:sldMkLst>
          <pc:docMk/>
          <pc:sldMk cId="3601332305" sldId="2147475645"/>
        </pc:sldMkLst>
        <pc:picChg chg="add mod">
          <ac:chgData name="Divya Rank" userId="8a86f94f-bc51-45b1-baba-7f5d30607298" providerId="ADAL" clId="{6209AB1D-13AD-40CE-B0EF-16BB425EE36C}" dt="2025-07-16T11:51:37.709" v="228" actId="34135"/>
          <ac:picMkLst>
            <pc:docMk/>
            <pc:sldMk cId="3601332305" sldId="2147475645"/>
            <ac:picMk id="3074" creationId="{320A3615-6068-48DB-70CC-A8AAB3033CA3}"/>
          </ac:picMkLst>
        </pc:picChg>
      </pc:sldChg>
      <pc:sldChg chg="addSp delSp modSp mod">
        <pc:chgData name="Divya Rank" userId="8a86f94f-bc51-45b1-baba-7f5d30607298" providerId="ADAL" clId="{6209AB1D-13AD-40CE-B0EF-16BB425EE36C}" dt="2025-07-16T11:51:53.083" v="231" actId="34135"/>
        <pc:sldMkLst>
          <pc:docMk/>
          <pc:sldMk cId="71159453" sldId="2147475646"/>
        </pc:sldMkLst>
        <pc:picChg chg="add mod">
          <ac:chgData name="Divya Rank" userId="8a86f94f-bc51-45b1-baba-7f5d30607298" providerId="ADAL" clId="{6209AB1D-13AD-40CE-B0EF-16BB425EE36C}" dt="2025-07-16T11:51:53.083" v="231" actId="34135"/>
          <ac:picMkLst>
            <pc:docMk/>
            <pc:sldMk cId="71159453" sldId="2147475646"/>
            <ac:picMk id="4098" creationId="{700C5D26-7260-0073-3592-606C2DAD2BD1}"/>
          </ac:picMkLst>
        </pc:picChg>
      </pc:sldChg>
      <pc:sldChg chg="modSp">
        <pc:chgData name="Divya Rank" userId="8a86f94f-bc51-45b1-baba-7f5d30607298" providerId="ADAL" clId="{6209AB1D-13AD-40CE-B0EF-16BB425EE36C}" dt="2025-07-16T12:01:34.369" v="266" actId="6549"/>
        <pc:sldMkLst>
          <pc:docMk/>
          <pc:sldMk cId="2145023399" sldId="2147475649"/>
        </pc:sldMkLst>
        <pc:spChg chg="mod">
          <ac:chgData name="Divya Rank" userId="8a86f94f-bc51-45b1-baba-7f5d30607298" providerId="ADAL" clId="{6209AB1D-13AD-40CE-B0EF-16BB425EE36C}" dt="2025-07-16T12:01:34.369" v="266" actId="6549"/>
          <ac:spMkLst>
            <pc:docMk/>
            <pc:sldMk cId="2145023399" sldId="2147475649"/>
            <ac:spMk id="10" creationId="{AC80D06D-EE25-A47D-1701-6DC97C874403}"/>
          </ac:spMkLst>
        </pc:spChg>
      </pc:sldChg>
      <pc:sldChg chg="modSp">
        <pc:chgData name="Divya Rank" userId="8a86f94f-bc51-45b1-baba-7f5d30607298" providerId="ADAL" clId="{6209AB1D-13AD-40CE-B0EF-16BB425EE36C}" dt="2025-07-16T12:01:32.244" v="265" actId="6549"/>
        <pc:sldMkLst>
          <pc:docMk/>
          <pc:sldMk cId="2775602384" sldId="2147475650"/>
        </pc:sldMkLst>
        <pc:spChg chg="mod">
          <ac:chgData name="Divya Rank" userId="8a86f94f-bc51-45b1-baba-7f5d30607298" providerId="ADAL" clId="{6209AB1D-13AD-40CE-B0EF-16BB425EE36C}" dt="2025-07-16T12:01:32.244" v="265" actId="6549"/>
          <ac:spMkLst>
            <pc:docMk/>
            <pc:sldMk cId="2775602384" sldId="2147475650"/>
            <ac:spMk id="10" creationId="{9FA2698F-7298-8121-C03B-9B1B90173267}"/>
          </ac:spMkLst>
        </pc:spChg>
      </pc:sldChg>
      <pc:sldChg chg="addSp delSp modSp mod">
        <pc:chgData name="Divya Rank" userId="8a86f94f-bc51-45b1-baba-7f5d30607298" providerId="ADAL" clId="{6209AB1D-13AD-40CE-B0EF-16BB425EE36C}" dt="2025-07-16T06:57:19.018" v="136" actId="20577"/>
        <pc:sldMkLst>
          <pc:docMk/>
          <pc:sldMk cId="3903429302" sldId="2147475651"/>
        </pc:sldMkLst>
        <pc:graphicFrameChg chg="add mod modGraphic">
          <ac:chgData name="Divya Rank" userId="8a86f94f-bc51-45b1-baba-7f5d30607298" providerId="ADAL" clId="{6209AB1D-13AD-40CE-B0EF-16BB425EE36C}" dt="2025-07-16T06:57:19.018" v="136" actId="20577"/>
          <ac:graphicFrameMkLst>
            <pc:docMk/>
            <pc:sldMk cId="3903429302" sldId="2147475651"/>
            <ac:graphicFrameMk id="5" creationId="{3709BBDC-FD25-8268-C5C3-6AC9313467E8}"/>
          </ac:graphicFrameMkLst>
        </pc:graphicFrameChg>
      </pc:sldChg>
      <pc:sldChg chg="modSp mod">
        <pc:chgData name="Divya Rank" userId="8a86f94f-bc51-45b1-baba-7f5d30607298" providerId="ADAL" clId="{6209AB1D-13AD-40CE-B0EF-16BB425EE36C}" dt="2025-07-16T06:57:23.281" v="139" actId="20577"/>
        <pc:sldMkLst>
          <pc:docMk/>
          <pc:sldMk cId="3316371110" sldId="2147475652"/>
        </pc:sldMkLst>
        <pc:graphicFrameChg chg="modGraphic">
          <ac:chgData name="Divya Rank" userId="8a86f94f-bc51-45b1-baba-7f5d30607298" providerId="ADAL" clId="{6209AB1D-13AD-40CE-B0EF-16BB425EE36C}" dt="2025-07-16T06:57:23.281" v="139" actId="20577"/>
          <ac:graphicFrameMkLst>
            <pc:docMk/>
            <pc:sldMk cId="3316371110" sldId="2147475652"/>
            <ac:graphicFrameMk id="5" creationId="{223F7D43-0224-C0CF-6D0E-5636021F1481}"/>
          </ac:graphicFrameMkLst>
        </pc:graphicFrameChg>
      </pc:sldChg>
      <pc:sldChg chg="modSp mod">
        <pc:chgData name="Divya Rank" userId="8a86f94f-bc51-45b1-baba-7f5d30607298" providerId="ADAL" clId="{6209AB1D-13AD-40CE-B0EF-16BB425EE36C}" dt="2025-07-16T06:53:10.790" v="42" actId="207"/>
        <pc:sldMkLst>
          <pc:docMk/>
          <pc:sldMk cId="222545808" sldId="2147475654"/>
        </pc:sldMkLst>
        <pc:graphicFrameChg chg="modGraphic">
          <ac:chgData name="Divya Rank" userId="8a86f94f-bc51-45b1-baba-7f5d30607298" providerId="ADAL" clId="{6209AB1D-13AD-40CE-B0EF-16BB425EE36C}" dt="2025-07-16T06:53:10.790" v="42" actId="207"/>
          <ac:graphicFrameMkLst>
            <pc:docMk/>
            <pc:sldMk cId="222545808" sldId="2147475654"/>
            <ac:graphicFrameMk id="5" creationId="{0E617462-1449-1CA0-1D03-1448DB38A25F}"/>
          </ac:graphicFrameMkLst>
        </pc:graphicFrameChg>
      </pc:sldChg>
      <pc:sldChg chg="modSp mod">
        <pc:chgData name="Divya Rank" userId="8a86f94f-bc51-45b1-baba-7f5d30607298" providerId="ADAL" clId="{6209AB1D-13AD-40CE-B0EF-16BB425EE36C}" dt="2025-07-16T06:53:26.088" v="46" actId="207"/>
        <pc:sldMkLst>
          <pc:docMk/>
          <pc:sldMk cId="2833335121" sldId="2147475655"/>
        </pc:sldMkLst>
        <pc:graphicFrameChg chg="modGraphic">
          <ac:chgData name="Divya Rank" userId="8a86f94f-bc51-45b1-baba-7f5d30607298" providerId="ADAL" clId="{6209AB1D-13AD-40CE-B0EF-16BB425EE36C}" dt="2025-07-16T06:53:26.088" v="46" actId="207"/>
          <ac:graphicFrameMkLst>
            <pc:docMk/>
            <pc:sldMk cId="2833335121" sldId="2147475655"/>
            <ac:graphicFrameMk id="13" creationId="{AED1BCB2-3AC8-8AEF-E4A6-3041E8FE8562}"/>
          </ac:graphicFrameMkLst>
        </pc:graphicFrameChg>
      </pc:sldChg>
      <pc:sldChg chg="modSp">
        <pc:chgData name="Divya Rank" userId="8a86f94f-bc51-45b1-baba-7f5d30607298" providerId="ADAL" clId="{6209AB1D-13AD-40CE-B0EF-16BB425EE36C}" dt="2025-07-16T12:01:44.337" v="268" actId="6549"/>
        <pc:sldMkLst>
          <pc:docMk/>
          <pc:sldMk cId="1849314565" sldId="2147475656"/>
        </pc:sldMkLst>
        <pc:spChg chg="mod">
          <ac:chgData name="Divya Rank" userId="8a86f94f-bc51-45b1-baba-7f5d30607298" providerId="ADAL" clId="{6209AB1D-13AD-40CE-B0EF-16BB425EE36C}" dt="2025-07-16T12:01:44.337" v="268" actId="6549"/>
          <ac:spMkLst>
            <pc:docMk/>
            <pc:sldMk cId="1849314565" sldId="2147475656"/>
            <ac:spMk id="10" creationId="{A3CE187A-A172-17E8-19D5-32E87BE7B6DB}"/>
          </ac:spMkLst>
        </pc:spChg>
      </pc:sldChg>
      <pc:sldChg chg="modSp">
        <pc:chgData name="Divya Rank" userId="8a86f94f-bc51-45b1-baba-7f5d30607298" providerId="ADAL" clId="{6209AB1D-13AD-40CE-B0EF-16BB425EE36C}" dt="2025-07-16T12:01:43.142" v="267" actId="6549"/>
        <pc:sldMkLst>
          <pc:docMk/>
          <pc:sldMk cId="1867186835" sldId="2147475657"/>
        </pc:sldMkLst>
        <pc:spChg chg="mod">
          <ac:chgData name="Divya Rank" userId="8a86f94f-bc51-45b1-baba-7f5d30607298" providerId="ADAL" clId="{6209AB1D-13AD-40CE-B0EF-16BB425EE36C}" dt="2025-07-16T12:01:43.142" v="267" actId="6549"/>
          <ac:spMkLst>
            <pc:docMk/>
            <pc:sldMk cId="1867186835" sldId="2147475657"/>
            <ac:spMk id="10" creationId="{C6FFA3B6-3B3B-0E3A-EAFE-35FF5AB4727A}"/>
          </ac:spMkLst>
        </pc:spChg>
      </pc:sldChg>
      <pc:sldChg chg="addSp delSp modSp del mod">
        <pc:chgData name="Divya Rank" userId="8a86f94f-bc51-45b1-baba-7f5d30607298" providerId="ADAL" clId="{6209AB1D-13AD-40CE-B0EF-16BB425EE36C}" dt="2025-07-16T11:54:11.682" v="253" actId="47"/>
        <pc:sldMkLst>
          <pc:docMk/>
          <pc:sldMk cId="2955533041" sldId="2147475660"/>
        </pc:sldMkLst>
      </pc:sldChg>
      <pc:sldChg chg="setBg">
        <pc:chgData name="Divya Rank" userId="8a86f94f-bc51-45b1-baba-7f5d30607298" providerId="ADAL" clId="{6209AB1D-13AD-40CE-B0EF-16BB425EE36C}" dt="2025-07-16T11:52:59.265" v="247"/>
        <pc:sldMkLst>
          <pc:docMk/>
          <pc:sldMk cId="4239618027" sldId="2147475661"/>
        </pc:sldMkLst>
      </pc:sldChg>
      <pc:sldChg chg="del setBg">
        <pc:chgData name="Divya Rank" userId="8a86f94f-bc51-45b1-baba-7f5d30607298" providerId="ADAL" clId="{6209AB1D-13AD-40CE-B0EF-16BB425EE36C}" dt="2025-07-16T11:54:12.694" v="254" actId="47"/>
        <pc:sldMkLst>
          <pc:docMk/>
          <pc:sldMk cId="1354346415" sldId="2147475662"/>
        </pc:sldMkLst>
      </pc:sldChg>
      <pc:sldChg chg="setBg">
        <pc:chgData name="Divya Rank" userId="8a86f94f-bc51-45b1-baba-7f5d30607298" providerId="ADAL" clId="{6209AB1D-13AD-40CE-B0EF-16BB425EE36C}" dt="2025-07-16T11:52:53.736" v="245"/>
        <pc:sldMkLst>
          <pc:docMk/>
          <pc:sldMk cId="862083365" sldId="2147475663"/>
        </pc:sldMkLst>
      </pc:sldChg>
    </pc:docChg>
  </pc:docChgLst>
  <pc:docChgLst>
    <pc:chgData name="Mitesh Bhaskar" userId="ca2e8610-5576-4b26-a6ed-a895aad45e14" providerId="ADAL" clId="{37F0DD1C-5E81-4A51-AB73-412E78D5852F}"/>
    <pc:docChg chg="modSld">
      <pc:chgData name="Mitesh Bhaskar" userId="ca2e8610-5576-4b26-a6ed-a895aad45e14" providerId="ADAL" clId="{37F0DD1C-5E81-4A51-AB73-412E78D5852F}" dt="2025-07-16T11:09:39.414" v="5" actId="20577"/>
      <pc:docMkLst>
        <pc:docMk/>
      </pc:docMkLst>
      <pc:sldChg chg="modSp mod">
        <pc:chgData name="Mitesh Bhaskar" userId="ca2e8610-5576-4b26-a6ed-a895aad45e14" providerId="ADAL" clId="{37F0DD1C-5E81-4A51-AB73-412E78D5852F}" dt="2025-07-16T11:09:39.414" v="5" actId="20577"/>
        <pc:sldMkLst>
          <pc:docMk/>
          <pc:sldMk cId="0" sldId="258"/>
        </pc:sldMkLst>
        <pc:spChg chg="mod">
          <ac:chgData name="Mitesh Bhaskar" userId="ca2e8610-5576-4b26-a6ed-a895aad45e14" providerId="ADAL" clId="{37F0DD1C-5E81-4A51-AB73-412E78D5852F}" dt="2025-07-16T11:09:39.414" v="5" actId="20577"/>
          <ac:spMkLst>
            <pc:docMk/>
            <pc:sldMk cId="0" sldId="258"/>
            <ac:spMk id="9" creationId="{00000000-0000-0000-0000-000000000000}"/>
          </ac:spMkLst>
        </pc:spChg>
      </pc:sldChg>
    </pc:docChg>
  </pc:docChgLst>
  <pc:docChgLst>
    <pc:chgData name="Aashish Pandey" userId="S::aashish@bluedataconsulting.in::341f317d-6b43-432f-b17f-fd51a4912ac2" providerId="AD" clId="Web-{D9BC590A-B203-4B1C-B63F-DC2FD685C61D}"/>
    <pc:docChg chg="modSld">
      <pc:chgData name="Aashish Pandey" userId="S::aashish@bluedataconsulting.in::341f317d-6b43-432f-b17f-fd51a4912ac2" providerId="AD" clId="Web-{D9BC590A-B203-4B1C-B63F-DC2FD685C61D}" dt="2025-07-16T06:03:17.014" v="1" actId="14100"/>
      <pc:docMkLst>
        <pc:docMk/>
      </pc:docMkLst>
      <pc:sldChg chg="modSp">
        <pc:chgData name="Aashish Pandey" userId="S::aashish@bluedataconsulting.in::341f317d-6b43-432f-b17f-fd51a4912ac2" providerId="AD" clId="Web-{D9BC590A-B203-4B1C-B63F-DC2FD685C61D}" dt="2025-07-16T06:03:05.670" v="0" actId="14100"/>
        <pc:sldMkLst>
          <pc:docMk/>
          <pc:sldMk cId="315205713" sldId="2147475623"/>
        </pc:sldMkLst>
        <pc:picChg chg="mod">
          <ac:chgData name="Aashish Pandey" userId="S::aashish@bluedataconsulting.in::341f317d-6b43-432f-b17f-fd51a4912ac2" providerId="AD" clId="Web-{D9BC590A-B203-4B1C-B63F-DC2FD685C61D}" dt="2025-07-16T06:03:05.670" v="0" actId="14100"/>
          <ac:picMkLst>
            <pc:docMk/>
            <pc:sldMk cId="315205713" sldId="2147475623"/>
            <ac:picMk id="13" creationId="{66659290-F093-4244-E23B-319A5E48BF12}"/>
          </ac:picMkLst>
        </pc:picChg>
      </pc:sldChg>
      <pc:sldChg chg="modSp">
        <pc:chgData name="Aashish Pandey" userId="S::aashish@bluedataconsulting.in::341f317d-6b43-432f-b17f-fd51a4912ac2" providerId="AD" clId="Web-{D9BC590A-B203-4B1C-B63F-DC2FD685C61D}" dt="2025-07-16T06:03:17.014" v="1" actId="14100"/>
        <pc:sldMkLst>
          <pc:docMk/>
          <pc:sldMk cId="1719978085" sldId="2147475624"/>
        </pc:sldMkLst>
        <pc:picChg chg="mod">
          <ac:chgData name="Aashish Pandey" userId="S::aashish@bluedataconsulting.in::341f317d-6b43-432f-b17f-fd51a4912ac2" providerId="AD" clId="Web-{D9BC590A-B203-4B1C-B63F-DC2FD685C61D}" dt="2025-07-16T06:03:17.014" v="1" actId="14100"/>
          <ac:picMkLst>
            <pc:docMk/>
            <pc:sldMk cId="1719978085" sldId="2147475624"/>
            <ac:picMk id="9" creationId="{05CC4EF8-F0D0-597B-1671-8AE75DCBE620}"/>
          </ac:picMkLst>
        </pc:picChg>
      </pc:sldChg>
    </pc:docChg>
  </pc:docChgLst>
  <pc:docChgLst>
    <pc:chgData name="Aashish Pandey" userId="S::aashish@bluedataconsulting.in::341f317d-6b43-432f-b17f-fd51a4912ac2" providerId="AD" clId="Web-{CBEB0CF6-1D88-47B5-B7E0-F330BE652315}"/>
    <pc:docChg chg="modSld">
      <pc:chgData name="Aashish Pandey" userId="S::aashish@bluedataconsulting.in::341f317d-6b43-432f-b17f-fd51a4912ac2" providerId="AD" clId="Web-{CBEB0CF6-1D88-47B5-B7E0-F330BE652315}" dt="2025-07-16T12:17:09.566" v="13"/>
      <pc:docMkLst>
        <pc:docMk/>
      </pc:docMkLst>
      <pc:sldChg chg="addSp delSp modSp mod modClrScheme chgLayout">
        <pc:chgData name="Aashish Pandey" userId="S::aashish@bluedataconsulting.in::341f317d-6b43-432f-b17f-fd51a4912ac2" providerId="AD" clId="Web-{CBEB0CF6-1D88-47B5-B7E0-F330BE652315}" dt="2025-07-16T12:17:09.566" v="13"/>
        <pc:sldMkLst>
          <pc:docMk/>
          <pc:sldMk cId="2117587729" sldId="2147470799"/>
        </pc:sldMkLst>
        <pc:spChg chg="mod ord">
          <ac:chgData name="Aashish Pandey" userId="S::aashish@bluedataconsulting.in::341f317d-6b43-432f-b17f-fd51a4912ac2" providerId="AD" clId="Web-{CBEB0CF6-1D88-47B5-B7E0-F330BE652315}" dt="2025-07-16T12:17:09.566" v="13"/>
          <ac:spMkLst>
            <pc:docMk/>
            <pc:sldMk cId="2117587729" sldId="2147470799"/>
            <ac:spMk id="2" creationId="{F86F84D5-61F9-11D3-A3BA-D7AFC5B2E901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7:09.566" v="13"/>
          <ac:spMkLst>
            <pc:docMk/>
            <pc:sldMk cId="2117587729" sldId="2147470799"/>
            <ac:spMk id="3" creationId="{C14534AF-0A98-BA2E-8440-D7F5EB512642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7:09.566" v="13"/>
          <ac:spMkLst>
            <pc:docMk/>
            <pc:sldMk cId="2117587729" sldId="2147470799"/>
            <ac:spMk id="4" creationId="{9FEE8FD2-F054-64ED-77D9-54DEEAF5A438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7:09.566" v="13"/>
          <ac:spMkLst>
            <pc:docMk/>
            <pc:sldMk cId="2117587729" sldId="2147470799"/>
            <ac:spMk id="6" creationId="{C587FD87-63BB-2440-44A7-2A8C5D967429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7:09.566" v="13"/>
          <ac:spMkLst>
            <pc:docMk/>
            <pc:sldMk cId="2117587729" sldId="2147470799"/>
            <ac:spMk id="7" creationId="{DDB3485D-D5D1-DC86-E74D-6B5E79E1375E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7:09.566" v="13"/>
          <ac:spMkLst>
            <pc:docMk/>
            <pc:sldMk cId="2117587729" sldId="2147470799"/>
            <ac:spMk id="22" creationId="{F3C6F89E-5450-66FB-EF16-7AD0177597C1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7:09.566" v="13"/>
          <ac:spMkLst>
            <pc:docMk/>
            <pc:sldMk cId="2117587729" sldId="2147470799"/>
            <ac:spMk id="23" creationId="{51AC55D1-1B73-C7BE-743A-FA26A5BC9607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7:09.566" v="13"/>
          <ac:spMkLst>
            <pc:docMk/>
            <pc:sldMk cId="2117587729" sldId="2147470799"/>
            <ac:spMk id="24" creationId="{E0921634-962A-89EC-4AEE-FE11875BF8F4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7:09.566" v="13"/>
          <ac:spMkLst>
            <pc:docMk/>
            <pc:sldMk cId="2117587729" sldId="2147470799"/>
            <ac:spMk id="26" creationId="{CE6C12A3-997A-2A23-DA8D-4F69B3ED3729}"/>
          </ac:spMkLst>
        </pc:spChg>
      </pc:sldChg>
      <pc:sldChg chg="addSp delSp modSp mod modClrScheme chgLayout">
        <pc:chgData name="Aashish Pandey" userId="S::aashish@bluedataconsulting.in::341f317d-6b43-432f-b17f-fd51a4912ac2" providerId="AD" clId="Web-{CBEB0CF6-1D88-47B5-B7E0-F330BE652315}" dt="2025-07-16T12:16:51.174" v="10"/>
        <pc:sldMkLst>
          <pc:docMk/>
          <pc:sldMk cId="335322867" sldId="2147475643"/>
        </pc:sldMkLst>
        <pc:spChg chg="mod ord">
          <ac:chgData name="Aashish Pandey" userId="S::aashish@bluedataconsulting.in::341f317d-6b43-432f-b17f-fd51a4912ac2" providerId="AD" clId="Web-{CBEB0CF6-1D88-47B5-B7E0-F330BE652315}" dt="2025-07-16T12:16:51.174" v="10"/>
          <ac:spMkLst>
            <pc:docMk/>
            <pc:sldMk cId="335322867" sldId="2147475643"/>
            <ac:spMk id="3" creationId="{44BC5EBE-F590-CD16-AA4C-2082B1665317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51.174" v="10"/>
          <ac:spMkLst>
            <pc:docMk/>
            <pc:sldMk cId="335322867" sldId="2147475643"/>
            <ac:spMk id="4" creationId="{80C4F881-187B-7DD1-39CE-DAC7D727C308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51.174" v="10"/>
          <ac:spMkLst>
            <pc:docMk/>
            <pc:sldMk cId="335322867" sldId="2147475643"/>
            <ac:spMk id="22" creationId="{935C03C1-707E-D6BF-6050-41BD1CD94125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51.174" v="10"/>
          <ac:spMkLst>
            <pc:docMk/>
            <pc:sldMk cId="335322867" sldId="2147475643"/>
            <ac:spMk id="37" creationId="{746BE297-0218-0486-110F-9EA44CEC95CE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51.174" v="10"/>
          <ac:spMkLst>
            <pc:docMk/>
            <pc:sldMk cId="335322867" sldId="2147475643"/>
            <ac:spMk id="38" creationId="{5314AEC2-1F9D-186A-90EB-F394E5D66C46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51.174" v="10"/>
          <ac:spMkLst>
            <pc:docMk/>
            <pc:sldMk cId="335322867" sldId="2147475643"/>
            <ac:spMk id="39" creationId="{F089C997-ECE1-0248-AD39-378534643D55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51.174" v="10"/>
          <ac:spMkLst>
            <pc:docMk/>
            <pc:sldMk cId="335322867" sldId="2147475643"/>
            <ac:spMk id="41" creationId="{AF3FCAFA-4460-316B-BEBD-C96EC3463A0D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51.174" v="10"/>
          <ac:spMkLst>
            <pc:docMk/>
            <pc:sldMk cId="335322867" sldId="2147475643"/>
            <ac:spMk id="43" creationId="{7A3E75E2-5856-23BA-65E6-C141DA96BB1E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51.174" v="10"/>
          <ac:spMkLst>
            <pc:docMk/>
            <pc:sldMk cId="335322867" sldId="2147475643"/>
            <ac:spMk id="44" creationId="{70F1A2CE-D204-EF6C-C04A-5545F3C93C3F}"/>
          </ac:spMkLst>
        </pc:spChg>
      </pc:sldChg>
      <pc:sldChg chg="addSp delSp modSp mod modClrScheme chgLayout">
        <pc:chgData name="Aashish Pandey" userId="S::aashish@bluedataconsulting.in::341f317d-6b43-432f-b17f-fd51a4912ac2" providerId="AD" clId="Web-{CBEB0CF6-1D88-47B5-B7E0-F330BE652315}" dt="2025-07-16T12:16:32.955" v="7"/>
        <pc:sldMkLst>
          <pc:docMk/>
          <pc:sldMk cId="3601332305" sldId="2147475645"/>
        </pc:sldMkLst>
        <pc:spChg chg="mod ord">
          <ac:chgData name="Aashish Pandey" userId="S::aashish@bluedataconsulting.in::341f317d-6b43-432f-b17f-fd51a4912ac2" providerId="AD" clId="Web-{CBEB0CF6-1D88-47B5-B7E0-F330BE652315}" dt="2025-07-16T12:16:32.955" v="7"/>
          <ac:spMkLst>
            <pc:docMk/>
            <pc:sldMk cId="3601332305" sldId="2147475645"/>
            <ac:spMk id="3" creationId="{2404EBAC-7273-5F68-B428-6ECB599CEB9B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32.955" v="7"/>
          <ac:spMkLst>
            <pc:docMk/>
            <pc:sldMk cId="3601332305" sldId="2147475645"/>
            <ac:spMk id="5" creationId="{0DAFCFF0-2940-F565-C5D5-9C9BED0B1C57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32.955" v="7"/>
          <ac:spMkLst>
            <pc:docMk/>
            <pc:sldMk cId="3601332305" sldId="2147475645"/>
            <ac:spMk id="22" creationId="{F7F57E70-9482-4742-24FA-49D895069665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32.955" v="7"/>
          <ac:spMkLst>
            <pc:docMk/>
            <pc:sldMk cId="3601332305" sldId="2147475645"/>
            <ac:spMk id="37" creationId="{0A7530F7-2FF5-F963-82E4-67C471CAA00E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32.955" v="7"/>
          <ac:spMkLst>
            <pc:docMk/>
            <pc:sldMk cId="3601332305" sldId="2147475645"/>
            <ac:spMk id="38" creationId="{0E32B600-1808-C5F8-921D-363C25D195AE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32.955" v="7"/>
          <ac:spMkLst>
            <pc:docMk/>
            <pc:sldMk cId="3601332305" sldId="2147475645"/>
            <ac:spMk id="39" creationId="{17702211-4FB2-5539-FC74-235F9FEE371B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32.955" v="7"/>
          <ac:spMkLst>
            <pc:docMk/>
            <pc:sldMk cId="3601332305" sldId="2147475645"/>
            <ac:spMk id="40" creationId="{77CB0CF6-A51A-ACD2-876C-711DD246D574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32.955" v="7"/>
          <ac:spMkLst>
            <pc:docMk/>
            <pc:sldMk cId="3601332305" sldId="2147475645"/>
            <ac:spMk id="43" creationId="{E61E7A4C-9B8E-6A61-733F-12B5CCD68225}"/>
          </ac:spMkLst>
        </pc:spChg>
      </pc:sldChg>
      <pc:sldChg chg="addSp delSp modSp mod modClrScheme chgLayout">
        <pc:chgData name="Aashish Pandey" userId="S::aashish@bluedataconsulting.in::341f317d-6b43-432f-b17f-fd51a4912ac2" providerId="AD" clId="Web-{CBEB0CF6-1D88-47B5-B7E0-F330BE652315}" dt="2025-07-16T12:16:07.095" v="4"/>
        <pc:sldMkLst>
          <pc:docMk/>
          <pc:sldMk cId="71159453" sldId="2147475646"/>
        </pc:sldMkLst>
        <pc:spChg chg="mod ord">
          <ac:chgData name="Aashish Pandey" userId="S::aashish@bluedataconsulting.in::341f317d-6b43-432f-b17f-fd51a4912ac2" providerId="AD" clId="Web-{CBEB0CF6-1D88-47B5-B7E0-F330BE652315}" dt="2025-07-16T12:16:07.095" v="4"/>
          <ac:spMkLst>
            <pc:docMk/>
            <pc:sldMk cId="71159453" sldId="2147475646"/>
            <ac:spMk id="3" creationId="{445EF308-3EDF-0A53-51E8-9723BB1EC416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07.095" v="4"/>
          <ac:spMkLst>
            <pc:docMk/>
            <pc:sldMk cId="71159453" sldId="2147475646"/>
            <ac:spMk id="4" creationId="{E6382731-C7DF-2606-6835-AF4AABCF6E9D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07.095" v="4"/>
          <ac:spMkLst>
            <pc:docMk/>
            <pc:sldMk cId="71159453" sldId="2147475646"/>
            <ac:spMk id="5" creationId="{19184AD3-505C-AD3D-5FE5-2704401132E9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07.095" v="4"/>
          <ac:spMkLst>
            <pc:docMk/>
            <pc:sldMk cId="71159453" sldId="2147475646"/>
            <ac:spMk id="22" creationId="{84138066-5941-85C8-A804-3FC4F4B5D067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07.095" v="4"/>
          <ac:spMkLst>
            <pc:docMk/>
            <pc:sldMk cId="71159453" sldId="2147475646"/>
            <ac:spMk id="47" creationId="{721D27E5-E536-AFC7-0C82-0D0AC4047922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07.095" v="4"/>
          <ac:spMkLst>
            <pc:docMk/>
            <pc:sldMk cId="71159453" sldId="2147475646"/>
            <ac:spMk id="48" creationId="{2CE3C818-7FAE-33B1-E364-1C66514554CA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07.095" v="4"/>
          <ac:spMkLst>
            <pc:docMk/>
            <pc:sldMk cId="71159453" sldId="2147475646"/>
            <ac:spMk id="49" creationId="{19759BDB-9F46-4E70-266C-1DCA92DB5C10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07.095" v="4"/>
          <ac:spMkLst>
            <pc:docMk/>
            <pc:sldMk cId="71159453" sldId="2147475646"/>
            <ac:spMk id="50" creationId="{E4E93B02-64DB-7748-F827-D6CCAAD45E02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07.095" v="4"/>
          <ac:spMkLst>
            <pc:docMk/>
            <pc:sldMk cId="71159453" sldId="2147475646"/>
            <ac:spMk id="52" creationId="{E90CF2D0-4C18-8E02-648D-B0994A5AC388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07.095" v="4"/>
          <ac:spMkLst>
            <pc:docMk/>
            <pc:sldMk cId="71159453" sldId="2147475646"/>
            <ac:spMk id="54" creationId="{C8E26302-BD9C-D708-BF66-17DE0EABD83E}"/>
          </ac:spMkLst>
        </pc:spChg>
      </pc:sldChg>
    </pc:docChg>
  </pc:docChgLst>
  <pc:docChgLst>
    <pc:chgData name="Krishna  Patel" userId="ed2200d0-4eed-40c6-ab36-78bc62005773" providerId="ADAL" clId="{15FA5FE1-2999-4637-A953-C5D2EA03449E}"/>
    <pc:docChg chg="undo custSel modSld">
      <pc:chgData name="Krishna  Patel" userId="ed2200d0-4eed-40c6-ab36-78bc62005773" providerId="ADAL" clId="{15FA5FE1-2999-4637-A953-C5D2EA03449E}" dt="2025-07-16T11:57:24.083" v="1312"/>
      <pc:docMkLst>
        <pc:docMk/>
      </pc:docMkLst>
      <pc:sldChg chg="modSp mod">
        <pc:chgData name="Krishna  Patel" userId="ed2200d0-4eed-40c6-ab36-78bc62005773" providerId="ADAL" clId="{15FA5FE1-2999-4637-A953-C5D2EA03449E}" dt="2025-07-16T04:54:31.874" v="78" actId="1076"/>
        <pc:sldMkLst>
          <pc:docMk/>
          <pc:sldMk cId="2117587729" sldId="2147470799"/>
        </pc:sldMkLst>
        <pc:spChg chg="mod">
          <ac:chgData name="Krishna  Patel" userId="ed2200d0-4eed-40c6-ab36-78bc62005773" providerId="ADAL" clId="{15FA5FE1-2999-4637-A953-C5D2EA03449E}" dt="2025-07-16T04:54:20.805" v="76" actId="1076"/>
          <ac:spMkLst>
            <pc:docMk/>
            <pc:sldMk cId="2117587729" sldId="2147470799"/>
            <ac:spMk id="2" creationId="{F86F84D5-61F9-11D3-A3BA-D7AFC5B2E901}"/>
          </ac:spMkLst>
        </pc:spChg>
        <pc:spChg chg="mod">
          <ac:chgData name="Krishna  Patel" userId="ed2200d0-4eed-40c6-ab36-78bc62005773" providerId="ADAL" clId="{15FA5FE1-2999-4637-A953-C5D2EA03449E}" dt="2025-07-16T04:54:20.805" v="76" actId="1076"/>
          <ac:spMkLst>
            <pc:docMk/>
            <pc:sldMk cId="2117587729" sldId="2147470799"/>
            <ac:spMk id="6" creationId="{C587FD87-63BB-2440-44A7-2A8C5D967429}"/>
          </ac:spMkLst>
        </pc:spChg>
        <pc:spChg chg="mod">
          <ac:chgData name="Krishna  Patel" userId="ed2200d0-4eed-40c6-ab36-78bc62005773" providerId="ADAL" clId="{15FA5FE1-2999-4637-A953-C5D2EA03449E}" dt="2025-07-16T04:54:27.011" v="77" actId="1076"/>
          <ac:spMkLst>
            <pc:docMk/>
            <pc:sldMk cId="2117587729" sldId="2147470799"/>
            <ac:spMk id="7" creationId="{DDB3485D-D5D1-DC86-E74D-6B5E79E1375E}"/>
          </ac:spMkLst>
        </pc:spChg>
        <pc:spChg chg="mod">
          <ac:chgData name="Krishna  Patel" userId="ed2200d0-4eed-40c6-ab36-78bc62005773" providerId="ADAL" clId="{15FA5FE1-2999-4637-A953-C5D2EA03449E}" dt="2025-07-16T04:54:27.011" v="77" actId="1076"/>
          <ac:spMkLst>
            <pc:docMk/>
            <pc:sldMk cId="2117587729" sldId="2147470799"/>
            <ac:spMk id="8" creationId="{0AAE58CF-DE77-B294-A0A7-DCD7807AEC0C}"/>
          </ac:spMkLst>
        </pc:spChg>
        <pc:spChg chg="mod">
          <ac:chgData name="Krishna  Patel" userId="ed2200d0-4eed-40c6-ab36-78bc62005773" providerId="ADAL" clId="{15FA5FE1-2999-4637-A953-C5D2EA03449E}" dt="2025-07-16T04:54:12.851" v="74" actId="14100"/>
          <ac:spMkLst>
            <pc:docMk/>
            <pc:sldMk cId="2117587729" sldId="2147470799"/>
            <ac:spMk id="23" creationId="{51AC55D1-1B73-C7BE-743A-FA26A5BC9607}"/>
          </ac:spMkLst>
        </pc:spChg>
        <pc:spChg chg="mod">
          <ac:chgData name="Krishna  Patel" userId="ed2200d0-4eed-40c6-ab36-78bc62005773" providerId="ADAL" clId="{15FA5FE1-2999-4637-A953-C5D2EA03449E}" dt="2025-07-16T04:54:12.851" v="74" actId="14100"/>
          <ac:spMkLst>
            <pc:docMk/>
            <pc:sldMk cId="2117587729" sldId="2147470799"/>
            <ac:spMk id="24" creationId="{E0921634-962A-89EC-4AEE-FE11875BF8F4}"/>
          </ac:spMkLst>
        </pc:spChg>
        <pc:spChg chg="mod">
          <ac:chgData name="Krishna  Patel" userId="ed2200d0-4eed-40c6-ab36-78bc62005773" providerId="ADAL" clId="{15FA5FE1-2999-4637-A953-C5D2EA03449E}" dt="2025-07-16T04:54:17.060" v="75" actId="1076"/>
          <ac:spMkLst>
            <pc:docMk/>
            <pc:sldMk cId="2117587729" sldId="2147470799"/>
            <ac:spMk id="25" creationId="{0EC72F25-CCEA-35CB-2E66-3D371F9ACA94}"/>
          </ac:spMkLst>
        </pc:spChg>
        <pc:spChg chg="mod">
          <ac:chgData name="Krishna  Patel" userId="ed2200d0-4eed-40c6-ab36-78bc62005773" providerId="ADAL" clId="{15FA5FE1-2999-4637-A953-C5D2EA03449E}" dt="2025-07-16T04:54:17.060" v="75" actId="1076"/>
          <ac:spMkLst>
            <pc:docMk/>
            <pc:sldMk cId="2117587729" sldId="2147470799"/>
            <ac:spMk id="26" creationId="{CE6C12A3-997A-2A23-DA8D-4F69B3ED3729}"/>
          </ac:spMkLst>
        </pc:spChg>
      </pc:sldChg>
      <pc:sldChg chg="addSp delSp modSp mod">
        <pc:chgData name="Krishna  Patel" userId="ed2200d0-4eed-40c6-ab36-78bc62005773" providerId="ADAL" clId="{15FA5FE1-2999-4637-A953-C5D2EA03449E}" dt="2025-07-16T04:51:44.798" v="52" actId="21"/>
        <pc:sldMkLst>
          <pc:docMk/>
          <pc:sldMk cId="1870539726" sldId="2147470807"/>
        </pc:sldMkLst>
        <pc:picChg chg="add del mod modCrop">
          <ac:chgData name="Krishna  Patel" userId="ed2200d0-4eed-40c6-ab36-78bc62005773" providerId="ADAL" clId="{15FA5FE1-2999-4637-A953-C5D2EA03449E}" dt="2025-07-16T04:51:43.081" v="51" actId="478"/>
          <ac:picMkLst>
            <pc:docMk/>
            <pc:sldMk cId="1870539726" sldId="2147470807"/>
            <ac:picMk id="12" creationId="{F07B426F-8F3C-31FB-911B-A6126108FB7F}"/>
          </ac:picMkLst>
        </pc:picChg>
      </pc:sldChg>
      <pc:sldChg chg="addSp delSp modSp mod">
        <pc:chgData name="Krishna  Patel" userId="ed2200d0-4eed-40c6-ab36-78bc62005773" providerId="ADAL" clId="{15FA5FE1-2999-4637-A953-C5D2EA03449E}" dt="2025-07-16T04:52:03.825" v="60" actId="1076"/>
        <pc:sldMkLst>
          <pc:docMk/>
          <pc:sldMk cId="767938927" sldId="2147470808"/>
        </pc:sldMkLst>
        <pc:picChg chg="add mod">
          <ac:chgData name="Krishna  Patel" userId="ed2200d0-4eed-40c6-ab36-78bc62005773" providerId="ADAL" clId="{15FA5FE1-2999-4637-A953-C5D2EA03449E}" dt="2025-07-16T04:52:03.825" v="60" actId="1076"/>
          <ac:picMkLst>
            <pc:docMk/>
            <pc:sldMk cId="767938927" sldId="2147470808"/>
            <ac:picMk id="14" creationId="{15841887-2BD7-FD90-77A8-D37B4BF0C593}"/>
          </ac:picMkLst>
        </pc:picChg>
      </pc:sldChg>
      <pc:sldChg chg="modAnim">
        <pc:chgData name="Krishna  Patel" userId="ed2200d0-4eed-40c6-ab36-78bc62005773" providerId="ADAL" clId="{15FA5FE1-2999-4637-A953-C5D2EA03449E}" dt="2025-07-16T11:10:25.563" v="993"/>
        <pc:sldMkLst>
          <pc:docMk/>
          <pc:sldMk cId="2434597008" sldId="2147474956"/>
        </pc:sldMkLst>
      </pc:sldChg>
      <pc:sldChg chg="modAnim">
        <pc:chgData name="Krishna  Patel" userId="ed2200d0-4eed-40c6-ab36-78bc62005773" providerId="ADAL" clId="{15FA5FE1-2999-4637-A953-C5D2EA03449E}" dt="2025-07-16T11:10:32.790" v="995"/>
        <pc:sldMkLst>
          <pc:docMk/>
          <pc:sldMk cId="2607678833" sldId="2147475321"/>
        </pc:sldMkLst>
      </pc:sldChg>
      <pc:sldChg chg="modSp mod setBg">
        <pc:chgData name="Krishna  Patel" userId="ed2200d0-4eed-40c6-ab36-78bc62005773" providerId="ADAL" clId="{15FA5FE1-2999-4637-A953-C5D2EA03449E}" dt="2025-07-16T11:18:15.394" v="1024"/>
        <pc:sldMkLst>
          <pc:docMk/>
          <pc:sldMk cId="2392527415" sldId="2147475572"/>
        </pc:sldMkLst>
        <pc:picChg chg="mod">
          <ac:chgData name="Krishna  Patel" userId="ed2200d0-4eed-40c6-ab36-78bc62005773" providerId="ADAL" clId="{15FA5FE1-2999-4637-A953-C5D2EA03449E}" dt="2025-07-16T11:08:10.763" v="990" actId="29295"/>
          <ac:picMkLst>
            <pc:docMk/>
            <pc:sldMk cId="2392527415" sldId="2147475572"/>
            <ac:picMk id="23" creationId="{13E8B1A9-D6B6-754B-7B29-46CD6C603439}"/>
          </ac:picMkLst>
        </pc:picChg>
      </pc:sldChg>
      <pc:sldChg chg="modAnim">
        <pc:chgData name="Krishna  Patel" userId="ed2200d0-4eed-40c6-ab36-78bc62005773" providerId="ADAL" clId="{15FA5FE1-2999-4637-A953-C5D2EA03449E}" dt="2025-07-16T11:11:15.140" v="1000"/>
        <pc:sldMkLst>
          <pc:docMk/>
          <pc:sldMk cId="3490202487" sldId="2147475587"/>
        </pc:sldMkLst>
      </pc:sldChg>
      <pc:sldChg chg="modAnim">
        <pc:chgData name="Krishna  Patel" userId="ed2200d0-4eed-40c6-ab36-78bc62005773" providerId="ADAL" clId="{15FA5FE1-2999-4637-A953-C5D2EA03449E}" dt="2025-07-16T11:11:19.257" v="1001"/>
        <pc:sldMkLst>
          <pc:docMk/>
          <pc:sldMk cId="1785137266" sldId="2147475588"/>
        </pc:sldMkLst>
      </pc:sldChg>
      <pc:sldChg chg="modSp mod">
        <pc:chgData name="Krishna  Patel" userId="ed2200d0-4eed-40c6-ab36-78bc62005773" providerId="ADAL" clId="{15FA5FE1-2999-4637-A953-C5D2EA03449E}" dt="2025-07-16T11:11:05.134" v="999" actId="1035"/>
        <pc:sldMkLst>
          <pc:docMk/>
          <pc:sldMk cId="3162560195" sldId="2147475592"/>
        </pc:sldMkLst>
        <pc:spChg chg="mod">
          <ac:chgData name="Krishna  Patel" userId="ed2200d0-4eed-40c6-ab36-78bc62005773" providerId="ADAL" clId="{15FA5FE1-2999-4637-A953-C5D2EA03449E}" dt="2025-07-16T11:11:05.134" v="999" actId="1035"/>
          <ac:spMkLst>
            <pc:docMk/>
            <pc:sldMk cId="3162560195" sldId="2147475592"/>
            <ac:spMk id="2" creationId="{8A809375-EBB2-77CE-954B-CEC78CE2E4EA}"/>
          </ac:spMkLst>
        </pc:spChg>
      </pc:sldChg>
      <pc:sldChg chg="modSp mod">
        <pc:chgData name="Krishna  Patel" userId="ed2200d0-4eed-40c6-ab36-78bc62005773" providerId="ADAL" clId="{15FA5FE1-2999-4637-A953-C5D2EA03449E}" dt="2025-07-16T11:22:03.395" v="1031" actId="207"/>
        <pc:sldMkLst>
          <pc:docMk/>
          <pc:sldMk cId="646900149" sldId="2147475599"/>
        </pc:sldMkLst>
        <pc:spChg chg="mod">
          <ac:chgData name="Krishna  Patel" userId="ed2200d0-4eed-40c6-ab36-78bc62005773" providerId="ADAL" clId="{15FA5FE1-2999-4637-A953-C5D2EA03449E}" dt="2025-07-16T11:22:03.395" v="1031" actId="207"/>
          <ac:spMkLst>
            <pc:docMk/>
            <pc:sldMk cId="646900149" sldId="2147475599"/>
            <ac:spMk id="5" creationId="{AD42C50A-6496-0E8D-3D69-2AE49A2C4E9B}"/>
          </ac:spMkLst>
        </pc:spChg>
      </pc:sldChg>
      <pc:sldChg chg="modSp mod">
        <pc:chgData name="Krishna  Patel" userId="ed2200d0-4eed-40c6-ab36-78bc62005773" providerId="ADAL" clId="{15FA5FE1-2999-4637-A953-C5D2EA03449E}" dt="2025-07-16T11:22:10.352" v="1033" actId="207"/>
        <pc:sldMkLst>
          <pc:docMk/>
          <pc:sldMk cId="1375571662" sldId="2147475600"/>
        </pc:sldMkLst>
        <pc:spChg chg="mod">
          <ac:chgData name="Krishna  Patel" userId="ed2200d0-4eed-40c6-ab36-78bc62005773" providerId="ADAL" clId="{15FA5FE1-2999-4637-A953-C5D2EA03449E}" dt="2025-07-16T11:22:10.352" v="1033" actId="207"/>
          <ac:spMkLst>
            <pc:docMk/>
            <pc:sldMk cId="1375571662" sldId="2147475600"/>
            <ac:spMk id="5" creationId="{E436B14F-A373-BAE2-0116-57EA61AA81C8}"/>
          </ac:spMkLst>
        </pc:spChg>
        <pc:spChg chg="mod">
          <ac:chgData name="Krishna  Patel" userId="ed2200d0-4eed-40c6-ab36-78bc62005773" providerId="ADAL" clId="{15FA5FE1-2999-4637-A953-C5D2EA03449E}" dt="2025-07-16T05:01:38.774" v="136" actId="1076"/>
          <ac:spMkLst>
            <pc:docMk/>
            <pc:sldMk cId="1375571662" sldId="2147475600"/>
            <ac:spMk id="8" creationId="{36E7B1BC-170C-0130-CF74-7027FF8F7D23}"/>
          </ac:spMkLst>
        </pc:spChg>
      </pc:sldChg>
      <pc:sldChg chg="addSp delSp modSp mod modAnim">
        <pc:chgData name="Krishna  Patel" userId="ed2200d0-4eed-40c6-ab36-78bc62005773" providerId="ADAL" clId="{15FA5FE1-2999-4637-A953-C5D2EA03449E}" dt="2025-07-16T11:40:37.072" v="1113"/>
        <pc:sldMkLst>
          <pc:docMk/>
          <pc:sldMk cId="1757946900" sldId="2147475601"/>
        </pc:sldMkLst>
        <pc:spChg chg="mod">
          <ac:chgData name="Krishna  Patel" userId="ed2200d0-4eed-40c6-ab36-78bc62005773" providerId="ADAL" clId="{15FA5FE1-2999-4637-A953-C5D2EA03449E}" dt="2025-07-16T05:01:46.678" v="140" actId="1035"/>
          <ac:spMkLst>
            <pc:docMk/>
            <pc:sldMk cId="1757946900" sldId="2147475601"/>
            <ac:spMk id="3" creationId="{38170246-596B-62D6-E4C6-F97C0D62D499}"/>
          </ac:spMkLst>
        </pc:spChg>
        <pc:spChg chg="mod">
          <ac:chgData name="Krishna  Patel" userId="ed2200d0-4eed-40c6-ab36-78bc62005773" providerId="ADAL" clId="{15FA5FE1-2999-4637-A953-C5D2EA03449E}" dt="2025-07-16T11:22:13.404" v="1034"/>
          <ac:spMkLst>
            <pc:docMk/>
            <pc:sldMk cId="1757946900" sldId="2147475601"/>
            <ac:spMk id="5" creationId="{7F3FAAEB-74F6-0B02-8871-4780D1230D95}"/>
          </ac:spMkLst>
        </pc:spChg>
        <pc:spChg chg="add mod">
          <ac:chgData name="Krishna  Patel" userId="ed2200d0-4eed-40c6-ab36-78bc62005773" providerId="ADAL" clId="{15FA5FE1-2999-4637-A953-C5D2EA03449E}" dt="2025-07-16T11:06:22.974" v="976" actId="1038"/>
          <ac:spMkLst>
            <pc:docMk/>
            <pc:sldMk cId="1757946900" sldId="2147475601"/>
            <ac:spMk id="12" creationId="{E8206563-40F4-56FC-2452-01C22B52F7BC}"/>
          </ac:spMkLst>
        </pc:spChg>
        <pc:spChg chg="add mod">
          <ac:chgData name="Krishna  Patel" userId="ed2200d0-4eed-40c6-ab36-78bc62005773" providerId="ADAL" clId="{15FA5FE1-2999-4637-A953-C5D2EA03449E}" dt="2025-07-16T11:05:51.434" v="971" actId="113"/>
          <ac:spMkLst>
            <pc:docMk/>
            <pc:sldMk cId="1757946900" sldId="2147475601"/>
            <ac:spMk id="13" creationId="{24C723E6-70B9-F1F6-2332-553EACEE5FE8}"/>
          </ac:spMkLst>
        </pc:spChg>
        <pc:spChg chg="add mod">
          <ac:chgData name="Krishna  Patel" userId="ed2200d0-4eed-40c6-ab36-78bc62005773" providerId="ADAL" clId="{15FA5FE1-2999-4637-A953-C5D2EA03449E}" dt="2025-07-16T11:06:45.945" v="978" actId="1076"/>
          <ac:spMkLst>
            <pc:docMk/>
            <pc:sldMk cId="1757946900" sldId="2147475601"/>
            <ac:spMk id="14" creationId="{DB4DD2DD-18BD-D0E5-C5D8-0EEC6BC619B2}"/>
          </ac:spMkLst>
        </pc:spChg>
        <pc:spChg chg="add mod">
          <ac:chgData name="Krishna  Patel" userId="ed2200d0-4eed-40c6-ab36-78bc62005773" providerId="ADAL" clId="{15FA5FE1-2999-4637-A953-C5D2EA03449E}" dt="2025-07-16T11:06:58.484" v="985" actId="1037"/>
          <ac:spMkLst>
            <pc:docMk/>
            <pc:sldMk cId="1757946900" sldId="2147475601"/>
            <ac:spMk id="15" creationId="{7F93ABC9-0CD4-0689-4378-C827F8FA578A}"/>
          </ac:spMkLst>
        </pc:spChg>
        <pc:picChg chg="add mod modCrop">
          <ac:chgData name="Krishna  Patel" userId="ed2200d0-4eed-40c6-ab36-78bc62005773" providerId="ADAL" clId="{15FA5FE1-2999-4637-A953-C5D2EA03449E}" dt="2025-07-16T05:07:26.188" v="154" actId="14100"/>
          <ac:picMkLst>
            <pc:docMk/>
            <pc:sldMk cId="1757946900" sldId="2147475601"/>
            <ac:picMk id="8" creationId="{8E495503-B014-7651-46EA-6338A9937BFD}"/>
          </ac:picMkLst>
        </pc:picChg>
        <pc:picChg chg="mod">
          <ac:chgData name="Krishna  Patel" userId="ed2200d0-4eed-40c6-ab36-78bc62005773" providerId="ADAL" clId="{15FA5FE1-2999-4637-A953-C5D2EA03449E}" dt="2025-07-16T11:05:41.424" v="968" actId="1076"/>
          <ac:picMkLst>
            <pc:docMk/>
            <pc:sldMk cId="1757946900" sldId="2147475601"/>
            <ac:picMk id="9" creationId="{329386CC-10B5-359F-C137-F8C43CCF50E9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1:46.558" v="1123"/>
        <pc:sldMkLst>
          <pc:docMk/>
          <pc:sldMk cId="2239870090" sldId="2147475602"/>
        </pc:sldMkLst>
        <pc:spChg chg="mod">
          <ac:chgData name="Krishna  Patel" userId="ed2200d0-4eed-40c6-ab36-78bc62005773" providerId="ADAL" clId="{15FA5FE1-2999-4637-A953-C5D2EA03449E}" dt="2025-07-16T11:22:15.519" v="1035"/>
          <ac:spMkLst>
            <pc:docMk/>
            <pc:sldMk cId="2239870090" sldId="2147475602"/>
            <ac:spMk id="5" creationId="{37BC2156-660A-0FBD-495A-A56323168223}"/>
          </ac:spMkLst>
        </pc:spChg>
        <pc:spChg chg="mod">
          <ac:chgData name="Krishna  Patel" userId="ed2200d0-4eed-40c6-ab36-78bc62005773" providerId="ADAL" clId="{15FA5FE1-2999-4637-A953-C5D2EA03449E}" dt="2025-07-16T05:02:03.846" v="141" actId="14100"/>
          <ac:spMkLst>
            <pc:docMk/>
            <pc:sldMk cId="2239870090" sldId="2147475602"/>
            <ac:spMk id="11" creationId="{2C8BD7CD-0A3F-6035-26DC-CC744942FAB4}"/>
          </ac:spMkLst>
        </pc:spChg>
        <pc:spChg chg="mod">
          <ac:chgData name="Krishna  Patel" userId="ed2200d0-4eed-40c6-ab36-78bc62005773" providerId="ADAL" clId="{15FA5FE1-2999-4637-A953-C5D2EA03449E}" dt="2025-07-16T05:02:03.846" v="141" actId="14100"/>
          <ac:spMkLst>
            <pc:docMk/>
            <pc:sldMk cId="2239870090" sldId="2147475602"/>
            <ac:spMk id="14" creationId="{F4F6A19A-6AD9-D570-1470-5092BA7F2A97}"/>
          </ac:spMkLst>
        </pc:spChg>
        <pc:spChg chg="mod">
          <ac:chgData name="Krishna  Patel" userId="ed2200d0-4eed-40c6-ab36-78bc62005773" providerId="ADAL" clId="{15FA5FE1-2999-4637-A953-C5D2EA03449E}" dt="2025-07-16T05:02:03.846" v="141" actId="14100"/>
          <ac:spMkLst>
            <pc:docMk/>
            <pc:sldMk cId="2239870090" sldId="2147475602"/>
            <ac:spMk id="17" creationId="{F773F63D-B133-7396-FC72-3C3888CA4F6F}"/>
          </ac:spMkLst>
        </pc:spChg>
        <pc:spChg chg="mod">
          <ac:chgData name="Krishna  Patel" userId="ed2200d0-4eed-40c6-ab36-78bc62005773" providerId="ADAL" clId="{15FA5FE1-2999-4637-A953-C5D2EA03449E}" dt="2025-07-16T05:02:03.846" v="141" actId="14100"/>
          <ac:spMkLst>
            <pc:docMk/>
            <pc:sldMk cId="2239870090" sldId="2147475602"/>
            <ac:spMk id="20" creationId="{F9F3FB13-F9DF-7D45-46C0-8A26FBFC9E1F}"/>
          </ac:spMkLst>
        </pc:spChg>
      </pc:sldChg>
      <pc:sldChg chg="modSp mod modAnim">
        <pc:chgData name="Krishna  Patel" userId="ed2200d0-4eed-40c6-ab36-78bc62005773" providerId="ADAL" clId="{15FA5FE1-2999-4637-A953-C5D2EA03449E}" dt="2025-07-16T11:41:55.559" v="1124"/>
        <pc:sldMkLst>
          <pc:docMk/>
          <pc:sldMk cId="2636204081" sldId="2147475603"/>
        </pc:sldMkLst>
        <pc:spChg chg="mod">
          <ac:chgData name="Krishna  Patel" userId="ed2200d0-4eed-40c6-ab36-78bc62005773" providerId="ADAL" clId="{15FA5FE1-2999-4637-A953-C5D2EA03449E}" dt="2025-07-16T11:22:19.623" v="1036"/>
          <ac:spMkLst>
            <pc:docMk/>
            <pc:sldMk cId="2636204081" sldId="2147475603"/>
            <ac:spMk id="6" creationId="{8A52EB51-1650-043A-8D04-B8EA13B37B1D}"/>
          </ac:spMkLst>
        </pc:spChg>
        <pc:spChg chg="mod">
          <ac:chgData name="Krishna  Patel" userId="ed2200d0-4eed-40c6-ab36-78bc62005773" providerId="ADAL" clId="{15FA5FE1-2999-4637-A953-C5D2EA03449E}" dt="2025-07-16T05:08:11.943" v="160" actId="1035"/>
          <ac:spMkLst>
            <pc:docMk/>
            <pc:sldMk cId="2636204081" sldId="2147475603"/>
            <ac:spMk id="19" creationId="{01ABCBA5-F812-1D0E-C1EB-CAFD9BCC4988}"/>
          </ac:spMkLst>
        </pc:spChg>
        <pc:picChg chg="mod">
          <ac:chgData name="Krishna  Patel" userId="ed2200d0-4eed-40c6-ab36-78bc62005773" providerId="ADAL" clId="{15FA5FE1-2999-4637-A953-C5D2EA03449E}" dt="2025-07-16T05:08:16.789" v="161" actId="1076"/>
          <ac:picMkLst>
            <pc:docMk/>
            <pc:sldMk cId="2636204081" sldId="2147475603"/>
            <ac:picMk id="21" creationId="{6F1A9DC8-9BEA-9E81-DD0C-28A59C7005D9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42:09.657" v="1128"/>
        <pc:sldMkLst>
          <pc:docMk/>
          <pc:sldMk cId="1933680618" sldId="2147475604"/>
        </pc:sldMkLst>
        <pc:spChg chg="mod">
          <ac:chgData name="Krishna  Patel" userId="ed2200d0-4eed-40c6-ab36-78bc62005773" providerId="ADAL" clId="{15FA5FE1-2999-4637-A953-C5D2EA03449E}" dt="2025-07-16T11:22:21.763" v="1037"/>
          <ac:spMkLst>
            <pc:docMk/>
            <pc:sldMk cId="1933680618" sldId="2147475604"/>
            <ac:spMk id="6" creationId="{6C95F0F7-58C5-D6BA-8178-CB7BEE8ED1CD}"/>
          </ac:spMkLst>
        </pc:spChg>
        <pc:spChg chg="mod">
          <ac:chgData name="Krishna  Patel" userId="ed2200d0-4eed-40c6-ab36-78bc62005773" providerId="ADAL" clId="{15FA5FE1-2999-4637-A953-C5D2EA03449E}" dt="2025-07-16T05:08:29.148" v="166" actId="1038"/>
          <ac:spMkLst>
            <pc:docMk/>
            <pc:sldMk cId="1933680618" sldId="2147475604"/>
            <ac:spMk id="19" creationId="{A456DB7C-9230-C5A2-5CC1-D81576FD0192}"/>
          </ac:spMkLst>
        </pc:spChg>
        <pc:picChg chg="add mod modCrop">
          <ac:chgData name="Krishna  Patel" userId="ed2200d0-4eed-40c6-ab36-78bc62005773" providerId="ADAL" clId="{15FA5FE1-2999-4637-A953-C5D2EA03449E}" dt="2025-07-16T11:42:07.718" v="1127" actId="1035"/>
          <ac:picMkLst>
            <pc:docMk/>
            <pc:sldMk cId="1933680618" sldId="2147475604"/>
            <ac:picMk id="8" creationId="{9E237DA3-1DC0-527D-6350-B05613C2AEBD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2:34.634" v="1132"/>
        <pc:sldMkLst>
          <pc:docMk/>
          <pc:sldMk cId="3353579192" sldId="2147475605"/>
        </pc:sldMkLst>
        <pc:spChg chg="mod">
          <ac:chgData name="Krishna  Patel" userId="ed2200d0-4eed-40c6-ab36-78bc62005773" providerId="ADAL" clId="{15FA5FE1-2999-4637-A953-C5D2EA03449E}" dt="2025-07-16T05:33:22.542" v="220" actId="14100"/>
          <ac:spMkLst>
            <pc:docMk/>
            <pc:sldMk cId="3353579192" sldId="2147475605"/>
            <ac:spMk id="3" creationId="{B8A119D3-6B3A-07A4-0770-6E8EC5CB23FD}"/>
          </ac:spMkLst>
        </pc:spChg>
        <pc:spChg chg="mod">
          <ac:chgData name="Krishna  Patel" userId="ed2200d0-4eed-40c6-ab36-78bc62005773" providerId="ADAL" clId="{15FA5FE1-2999-4637-A953-C5D2EA03449E}" dt="2025-07-16T11:22:25.908" v="1038"/>
          <ac:spMkLst>
            <pc:docMk/>
            <pc:sldMk cId="3353579192" sldId="2147475605"/>
            <ac:spMk id="5" creationId="{875E0EC8-6D3E-CEF0-8799-31FFB6CA31E9}"/>
          </ac:spMkLst>
        </pc:spChg>
        <pc:spChg chg="mod">
          <ac:chgData name="Krishna  Patel" userId="ed2200d0-4eed-40c6-ab36-78bc62005773" providerId="ADAL" clId="{15FA5FE1-2999-4637-A953-C5D2EA03449E}" dt="2025-07-16T05:33:22.542" v="220" actId="14100"/>
          <ac:spMkLst>
            <pc:docMk/>
            <pc:sldMk cId="3353579192" sldId="2147475605"/>
            <ac:spMk id="7" creationId="{DD7A04A4-1970-13B5-75AD-07B31AF10A89}"/>
          </ac:spMkLst>
        </pc:spChg>
      </pc:sldChg>
      <pc:sldChg chg="modSp mod">
        <pc:chgData name="Krishna  Patel" userId="ed2200d0-4eed-40c6-ab36-78bc62005773" providerId="ADAL" clId="{15FA5FE1-2999-4637-A953-C5D2EA03449E}" dt="2025-07-16T11:22:30.384" v="1040" actId="207"/>
        <pc:sldMkLst>
          <pc:docMk/>
          <pc:sldMk cId="1122767912" sldId="2147475606"/>
        </pc:sldMkLst>
        <pc:spChg chg="mod">
          <ac:chgData name="Krishna  Patel" userId="ed2200d0-4eed-40c6-ab36-78bc62005773" providerId="ADAL" clId="{15FA5FE1-2999-4637-A953-C5D2EA03449E}" dt="2025-07-16T11:22:30.384" v="1040" actId="207"/>
          <ac:spMkLst>
            <pc:docMk/>
            <pc:sldMk cId="1122767912" sldId="2147475606"/>
            <ac:spMk id="5" creationId="{920800AA-A633-EE29-4E2C-7AB8A3238A32}"/>
          </ac:spMkLst>
        </pc:spChg>
      </pc:sldChg>
      <pc:sldChg chg="modSp mod modAnim">
        <pc:chgData name="Krishna  Patel" userId="ed2200d0-4eed-40c6-ab36-78bc62005773" providerId="ADAL" clId="{15FA5FE1-2999-4637-A953-C5D2EA03449E}" dt="2025-07-16T11:43:04.714" v="1137"/>
        <pc:sldMkLst>
          <pc:docMk/>
          <pc:sldMk cId="752364869" sldId="2147475607"/>
        </pc:sldMkLst>
        <pc:spChg chg="mod">
          <ac:chgData name="Krishna  Patel" userId="ed2200d0-4eed-40c6-ab36-78bc62005773" providerId="ADAL" clId="{15FA5FE1-2999-4637-A953-C5D2EA03449E}" dt="2025-07-16T11:22:32.956" v="1041"/>
          <ac:spMkLst>
            <pc:docMk/>
            <pc:sldMk cId="752364869" sldId="2147475607"/>
            <ac:spMk id="4" creationId="{FF6A09D1-F181-DC22-053C-F3F369491B2E}"/>
          </ac:spMkLst>
        </pc:spChg>
        <pc:spChg chg="mod">
          <ac:chgData name="Krishna  Patel" userId="ed2200d0-4eed-40c6-ab36-78bc62005773" providerId="ADAL" clId="{15FA5FE1-2999-4637-A953-C5D2EA03449E}" dt="2025-07-16T05:33:54.763" v="227" actId="3064"/>
          <ac:spMkLst>
            <pc:docMk/>
            <pc:sldMk cId="752364869" sldId="2147475607"/>
            <ac:spMk id="7" creationId="{F52652B9-56DE-F990-92E8-9059A824066C}"/>
          </ac:spMkLst>
        </pc:spChg>
        <pc:spChg chg="mod">
          <ac:chgData name="Krishna  Patel" userId="ed2200d0-4eed-40c6-ab36-78bc62005773" providerId="ADAL" clId="{15FA5FE1-2999-4637-A953-C5D2EA03449E}" dt="2025-07-16T05:33:54.763" v="227" actId="3064"/>
          <ac:spMkLst>
            <pc:docMk/>
            <pc:sldMk cId="752364869" sldId="2147475607"/>
            <ac:spMk id="8" creationId="{22C64400-1178-EB10-3A65-97481143DA30}"/>
          </ac:spMkLst>
        </pc:spChg>
        <pc:spChg chg="mod">
          <ac:chgData name="Krishna  Patel" userId="ed2200d0-4eed-40c6-ab36-78bc62005773" providerId="ADAL" clId="{15FA5FE1-2999-4637-A953-C5D2EA03449E}" dt="2025-07-16T05:34:00.872" v="228" actId="404"/>
          <ac:spMkLst>
            <pc:docMk/>
            <pc:sldMk cId="752364869" sldId="2147475607"/>
            <ac:spMk id="10" creationId="{2EE861BB-5861-6872-D563-697E27B445CE}"/>
          </ac:spMkLst>
        </pc:spChg>
      </pc:sldChg>
      <pc:sldChg chg="addSp delSp modSp mod modAnim">
        <pc:chgData name="Krishna  Patel" userId="ed2200d0-4eed-40c6-ab36-78bc62005773" providerId="ADAL" clId="{15FA5FE1-2999-4637-A953-C5D2EA03449E}" dt="2025-07-16T11:43:30.555" v="1138"/>
        <pc:sldMkLst>
          <pc:docMk/>
          <pc:sldMk cId="1395752115" sldId="2147475608"/>
        </pc:sldMkLst>
        <pc:spChg chg="mod">
          <ac:chgData name="Krishna  Patel" userId="ed2200d0-4eed-40c6-ab36-78bc62005773" providerId="ADAL" clId="{15FA5FE1-2999-4637-A953-C5D2EA03449E}" dt="2025-07-16T05:34:57.222" v="234" actId="1036"/>
          <ac:spMkLst>
            <pc:docMk/>
            <pc:sldMk cId="1395752115" sldId="2147475608"/>
            <ac:spMk id="3" creationId="{3126A7F1-4444-0799-CC25-85766BDAFE9D}"/>
          </ac:spMkLst>
        </pc:spChg>
        <pc:spChg chg="mod">
          <ac:chgData name="Krishna  Patel" userId="ed2200d0-4eed-40c6-ab36-78bc62005773" providerId="ADAL" clId="{15FA5FE1-2999-4637-A953-C5D2EA03449E}" dt="2025-07-16T11:22:35.257" v="1042"/>
          <ac:spMkLst>
            <pc:docMk/>
            <pc:sldMk cId="1395752115" sldId="2147475608"/>
            <ac:spMk id="5" creationId="{00B0FABD-FCCD-F7C6-6AC1-3C4A060F02C9}"/>
          </ac:spMkLst>
        </pc:spChg>
        <pc:picChg chg="add mod modCrop">
          <ac:chgData name="Krishna  Patel" userId="ed2200d0-4eed-40c6-ab36-78bc62005773" providerId="ADAL" clId="{15FA5FE1-2999-4637-A953-C5D2EA03449E}" dt="2025-07-16T07:09:48.853" v="328" actId="1076"/>
          <ac:picMkLst>
            <pc:docMk/>
            <pc:sldMk cId="1395752115" sldId="2147475608"/>
            <ac:picMk id="11" creationId="{3424C55F-3D7C-A2CB-1279-25B14B68BC43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43:34.951" v="1139"/>
        <pc:sldMkLst>
          <pc:docMk/>
          <pc:sldMk cId="1529666782" sldId="2147475609"/>
        </pc:sldMkLst>
        <pc:spChg chg="mod">
          <ac:chgData name="Krishna  Patel" userId="ed2200d0-4eed-40c6-ab36-78bc62005773" providerId="ADAL" clId="{15FA5FE1-2999-4637-A953-C5D2EA03449E}" dt="2025-07-16T05:35:03.682" v="247" actId="1036"/>
          <ac:spMkLst>
            <pc:docMk/>
            <pc:sldMk cId="1529666782" sldId="2147475609"/>
            <ac:spMk id="3" creationId="{819DC5B8-4AFA-A7DB-6E1B-7DD127A447A5}"/>
          </ac:spMkLst>
        </pc:spChg>
        <pc:spChg chg="mod">
          <ac:chgData name="Krishna  Patel" userId="ed2200d0-4eed-40c6-ab36-78bc62005773" providerId="ADAL" clId="{15FA5FE1-2999-4637-A953-C5D2EA03449E}" dt="2025-07-16T11:22:37.543" v="1043"/>
          <ac:spMkLst>
            <pc:docMk/>
            <pc:sldMk cId="1529666782" sldId="2147475609"/>
            <ac:spMk id="5" creationId="{2D37A248-578A-8AB4-27F9-DABB0607AFFF}"/>
          </ac:spMkLst>
        </pc:spChg>
        <pc:picChg chg="add mod modCrop">
          <ac:chgData name="Krishna  Patel" userId="ed2200d0-4eed-40c6-ab36-78bc62005773" providerId="ADAL" clId="{15FA5FE1-2999-4637-A953-C5D2EA03449E}" dt="2025-07-16T07:11:20.642" v="348" actId="1037"/>
          <ac:picMkLst>
            <pc:docMk/>
            <pc:sldMk cId="1529666782" sldId="2147475609"/>
            <ac:picMk id="11" creationId="{DBC2182C-911C-5E6B-9736-7AB993DEB4DE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43:38.991" v="1140"/>
        <pc:sldMkLst>
          <pc:docMk/>
          <pc:sldMk cId="775880917" sldId="2147475610"/>
        </pc:sldMkLst>
        <pc:spChg chg="mod">
          <ac:chgData name="Krishna  Patel" userId="ed2200d0-4eed-40c6-ab36-78bc62005773" providerId="ADAL" clId="{15FA5FE1-2999-4637-A953-C5D2EA03449E}" dt="2025-07-16T05:35:09.232" v="262" actId="1035"/>
          <ac:spMkLst>
            <pc:docMk/>
            <pc:sldMk cId="775880917" sldId="2147475610"/>
            <ac:spMk id="3" creationId="{F5F7E510-AC42-149A-4732-A6535910DB2F}"/>
          </ac:spMkLst>
        </pc:spChg>
        <pc:spChg chg="mod">
          <ac:chgData name="Krishna  Patel" userId="ed2200d0-4eed-40c6-ab36-78bc62005773" providerId="ADAL" clId="{15FA5FE1-2999-4637-A953-C5D2EA03449E}" dt="2025-07-16T11:22:39.909" v="1044"/>
          <ac:spMkLst>
            <pc:docMk/>
            <pc:sldMk cId="775880917" sldId="2147475610"/>
            <ac:spMk id="5" creationId="{313CFC50-EA08-A8EE-1D1E-7DF54D2D9A2E}"/>
          </ac:spMkLst>
        </pc:spChg>
        <pc:picChg chg="add mod modCrop">
          <ac:chgData name="Krishna  Patel" userId="ed2200d0-4eed-40c6-ab36-78bc62005773" providerId="ADAL" clId="{15FA5FE1-2999-4637-A953-C5D2EA03449E}" dt="2025-07-16T07:13:15.447" v="366" actId="1038"/>
          <ac:picMkLst>
            <pc:docMk/>
            <pc:sldMk cId="775880917" sldId="2147475610"/>
            <ac:picMk id="11" creationId="{A5838CA4-3BFC-FFD9-4215-E509BBB2FD15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43:42.814" v="1141"/>
        <pc:sldMkLst>
          <pc:docMk/>
          <pc:sldMk cId="956989424" sldId="2147475611"/>
        </pc:sldMkLst>
        <pc:spChg chg="mod">
          <ac:chgData name="Krishna  Patel" userId="ed2200d0-4eed-40c6-ab36-78bc62005773" providerId="ADAL" clId="{15FA5FE1-2999-4637-A953-C5D2EA03449E}" dt="2025-07-16T05:35:13.957" v="275" actId="1036"/>
          <ac:spMkLst>
            <pc:docMk/>
            <pc:sldMk cId="956989424" sldId="2147475611"/>
            <ac:spMk id="3" creationId="{97554EC7-EDC4-7F04-6338-7174A32CA694}"/>
          </ac:spMkLst>
        </pc:spChg>
        <pc:spChg chg="mod">
          <ac:chgData name="Krishna  Patel" userId="ed2200d0-4eed-40c6-ab36-78bc62005773" providerId="ADAL" clId="{15FA5FE1-2999-4637-A953-C5D2EA03449E}" dt="2025-07-16T11:22:41.951" v="1045"/>
          <ac:spMkLst>
            <pc:docMk/>
            <pc:sldMk cId="956989424" sldId="2147475611"/>
            <ac:spMk id="5" creationId="{EB0A3FDD-7B62-7B0D-950C-255DFBDDA3E5}"/>
          </ac:spMkLst>
        </pc:spChg>
        <pc:picChg chg="add mod modCrop">
          <ac:chgData name="Krishna  Patel" userId="ed2200d0-4eed-40c6-ab36-78bc62005773" providerId="ADAL" clId="{15FA5FE1-2999-4637-A953-C5D2EA03449E}" dt="2025-07-16T07:08:30.653" v="309" actId="1035"/>
          <ac:picMkLst>
            <pc:docMk/>
            <pc:sldMk cId="956989424" sldId="2147475611"/>
            <ac:picMk id="8" creationId="{6D7B7BA6-3CE8-63C8-D576-219A39E56790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3:53.208" v="1142"/>
        <pc:sldMkLst>
          <pc:docMk/>
          <pc:sldMk cId="1717406114" sldId="2147475612"/>
        </pc:sldMkLst>
        <pc:spChg chg="mod">
          <ac:chgData name="Krishna  Patel" userId="ed2200d0-4eed-40c6-ab36-78bc62005773" providerId="ADAL" clId="{15FA5FE1-2999-4637-A953-C5D2EA03449E}" dt="2025-07-16T11:22:44.883" v="1046"/>
          <ac:spMkLst>
            <pc:docMk/>
            <pc:sldMk cId="1717406114" sldId="2147475612"/>
            <ac:spMk id="4" creationId="{D38EC7B0-3AC5-452A-49A1-71B90C83CED7}"/>
          </ac:spMkLst>
        </pc:spChg>
        <pc:spChg chg="mod">
          <ac:chgData name="Krishna  Patel" userId="ed2200d0-4eed-40c6-ab36-78bc62005773" providerId="ADAL" clId="{15FA5FE1-2999-4637-A953-C5D2EA03449E}" dt="2025-07-16T05:35:19.352" v="290" actId="1036"/>
          <ac:spMkLst>
            <pc:docMk/>
            <pc:sldMk cId="1717406114" sldId="2147475612"/>
            <ac:spMk id="7" creationId="{ECD1AD91-E74D-D1DF-17C8-DFE588141719}"/>
          </ac:spMkLst>
        </pc:spChg>
      </pc:sldChg>
      <pc:sldChg chg="modSp mod modAnim">
        <pc:chgData name="Krishna  Patel" userId="ed2200d0-4eed-40c6-ab36-78bc62005773" providerId="ADAL" clId="{15FA5FE1-2999-4637-A953-C5D2EA03449E}" dt="2025-07-16T11:57:24.083" v="1312"/>
        <pc:sldMkLst>
          <pc:docMk/>
          <pc:sldMk cId="469183570" sldId="2147475614"/>
        </pc:sldMkLst>
        <pc:spChg chg="mod">
          <ac:chgData name="Krishna  Patel" userId="ed2200d0-4eed-40c6-ab36-78bc62005773" providerId="ADAL" clId="{15FA5FE1-2999-4637-A953-C5D2EA03449E}" dt="2025-07-16T11:23:35.182" v="1060"/>
          <ac:spMkLst>
            <pc:docMk/>
            <pc:sldMk cId="469183570" sldId="2147475614"/>
            <ac:spMk id="5" creationId="{9742D1BF-3402-3F8B-6C0D-5159CEC35D4B}"/>
          </ac:spMkLst>
        </pc:spChg>
        <pc:spChg chg="mod">
          <ac:chgData name="Krishna  Patel" userId="ed2200d0-4eed-40c6-ab36-78bc62005773" providerId="ADAL" clId="{15FA5FE1-2999-4637-A953-C5D2EA03449E}" dt="2025-07-16T07:13:55.272" v="371" actId="1036"/>
          <ac:spMkLst>
            <pc:docMk/>
            <pc:sldMk cId="469183570" sldId="2147475614"/>
            <ac:spMk id="8" creationId="{EA40EFC6-1F19-CB27-D35A-381A2955F783}"/>
          </ac:spMkLst>
        </pc:spChg>
        <pc:picChg chg="mod">
          <ac:chgData name="Krishna  Patel" userId="ed2200d0-4eed-40c6-ab36-78bc62005773" providerId="ADAL" clId="{15FA5FE1-2999-4637-A953-C5D2EA03449E}" dt="2025-07-16T07:13:50.453" v="369" actId="1076"/>
          <ac:picMkLst>
            <pc:docMk/>
            <pc:sldMk cId="469183570" sldId="2147475614"/>
            <ac:picMk id="2" creationId="{836559C7-6456-EBED-2EE3-7F96ADBE4A9E}"/>
          </ac:picMkLst>
        </pc:picChg>
      </pc:sldChg>
      <pc:sldChg chg="modSp mod">
        <pc:chgData name="Krishna  Patel" userId="ed2200d0-4eed-40c6-ab36-78bc62005773" providerId="ADAL" clId="{15FA5FE1-2999-4637-A953-C5D2EA03449E}" dt="2025-07-16T11:26:05.421" v="1112" actId="1038"/>
        <pc:sldMkLst>
          <pc:docMk/>
          <pc:sldMk cId="3911566123" sldId="2147475615"/>
        </pc:sldMkLst>
        <pc:spChg chg="mod">
          <ac:chgData name="Krishna  Patel" userId="ed2200d0-4eed-40c6-ab36-78bc62005773" providerId="ADAL" clId="{15FA5FE1-2999-4637-A953-C5D2EA03449E}" dt="2025-07-16T11:23:39.993" v="1061"/>
          <ac:spMkLst>
            <pc:docMk/>
            <pc:sldMk cId="3911566123" sldId="2147475615"/>
            <ac:spMk id="5" creationId="{50E28C37-DA5C-9100-B9EB-2F86F2565D99}"/>
          </ac:spMkLst>
        </pc:spChg>
        <pc:spChg chg="mod">
          <ac:chgData name="Krishna  Patel" userId="ed2200d0-4eed-40c6-ab36-78bc62005773" providerId="ADAL" clId="{15FA5FE1-2999-4637-A953-C5D2EA03449E}" dt="2025-07-16T11:25:52.074" v="1101" actId="14100"/>
          <ac:spMkLst>
            <pc:docMk/>
            <pc:sldMk cId="3911566123" sldId="2147475615"/>
            <ac:spMk id="9" creationId="{E375BCDD-8BC6-BE47-F192-F746220B3342}"/>
          </ac:spMkLst>
        </pc:spChg>
        <pc:spChg chg="mod">
          <ac:chgData name="Krishna  Patel" userId="ed2200d0-4eed-40c6-ab36-78bc62005773" providerId="ADAL" clId="{15FA5FE1-2999-4637-A953-C5D2EA03449E}" dt="2025-07-16T11:25:52.074" v="1101" actId="14100"/>
          <ac:spMkLst>
            <pc:docMk/>
            <pc:sldMk cId="3911566123" sldId="2147475615"/>
            <ac:spMk id="10" creationId="{EC8158A4-5470-0100-770F-455DC0F662C0}"/>
          </ac:spMkLst>
        </pc:spChg>
        <pc:spChg chg="mod">
          <ac:chgData name="Krishna  Patel" userId="ed2200d0-4eed-40c6-ab36-78bc62005773" providerId="ADAL" clId="{15FA5FE1-2999-4637-A953-C5D2EA03449E}" dt="2025-07-16T11:25:52.074" v="1101" actId="14100"/>
          <ac:spMkLst>
            <pc:docMk/>
            <pc:sldMk cId="3911566123" sldId="2147475615"/>
            <ac:spMk id="11" creationId="{98D65E42-04D8-450E-97DD-2F8D1C1083C9}"/>
          </ac:spMkLst>
        </pc:spChg>
        <pc:spChg chg="mod">
          <ac:chgData name="Krishna  Patel" userId="ed2200d0-4eed-40c6-ab36-78bc62005773" providerId="ADAL" clId="{15FA5FE1-2999-4637-A953-C5D2EA03449E}" dt="2025-07-16T11:25:52.074" v="1101" actId="14100"/>
          <ac:spMkLst>
            <pc:docMk/>
            <pc:sldMk cId="3911566123" sldId="2147475615"/>
            <ac:spMk id="12" creationId="{EF6B9E0B-1D7B-EFE8-BEA3-63A712E5EE95}"/>
          </ac:spMkLst>
        </pc:spChg>
        <pc:spChg chg="mod">
          <ac:chgData name="Krishna  Patel" userId="ed2200d0-4eed-40c6-ab36-78bc62005773" providerId="ADAL" clId="{15FA5FE1-2999-4637-A953-C5D2EA03449E}" dt="2025-07-16T11:25:52.074" v="1101" actId="14100"/>
          <ac:spMkLst>
            <pc:docMk/>
            <pc:sldMk cId="3911566123" sldId="2147475615"/>
            <ac:spMk id="13" creationId="{14F305AF-0EA8-EC00-CAED-3B788C652C3F}"/>
          </ac:spMkLst>
        </pc:spChg>
        <pc:spChg chg="mod">
          <ac:chgData name="Krishna  Patel" userId="ed2200d0-4eed-40c6-ab36-78bc62005773" providerId="ADAL" clId="{15FA5FE1-2999-4637-A953-C5D2EA03449E}" dt="2025-07-16T11:26:05.421" v="1112" actId="1038"/>
          <ac:spMkLst>
            <pc:docMk/>
            <pc:sldMk cId="3911566123" sldId="2147475615"/>
            <ac:spMk id="14" creationId="{08AB3F08-01E7-A3A1-DD57-AFAF733507C5}"/>
          </ac:spMkLst>
        </pc:spChg>
      </pc:sldChg>
      <pc:sldChg chg="modSp mod modAnim">
        <pc:chgData name="Krishna  Patel" userId="ed2200d0-4eed-40c6-ab36-78bc62005773" providerId="ADAL" clId="{15FA5FE1-2999-4637-A953-C5D2EA03449E}" dt="2025-07-16T11:44:32.965" v="1149"/>
        <pc:sldMkLst>
          <pc:docMk/>
          <pc:sldMk cId="1781220005" sldId="2147475616"/>
        </pc:sldMkLst>
        <pc:spChg chg="mod">
          <ac:chgData name="Krishna  Patel" userId="ed2200d0-4eed-40c6-ab36-78bc62005773" providerId="ADAL" clId="{15FA5FE1-2999-4637-A953-C5D2EA03449E}" dt="2025-07-16T11:23:42.268" v="1062"/>
          <ac:spMkLst>
            <pc:docMk/>
            <pc:sldMk cId="1781220005" sldId="2147475616"/>
            <ac:spMk id="5" creationId="{3F5C454E-2282-B461-8E7D-E29A381EAB43}"/>
          </ac:spMkLst>
        </pc:spChg>
        <pc:spChg chg="mod">
          <ac:chgData name="Krishna  Patel" userId="ed2200d0-4eed-40c6-ab36-78bc62005773" providerId="ADAL" clId="{15FA5FE1-2999-4637-A953-C5D2EA03449E}" dt="2025-07-16T07:14:09.906" v="376" actId="1035"/>
          <ac:spMkLst>
            <pc:docMk/>
            <pc:sldMk cId="1781220005" sldId="2147475616"/>
            <ac:spMk id="16" creationId="{D5F081F8-4928-2BDE-8B51-17AF381E898D}"/>
          </ac:spMkLst>
        </pc:spChg>
        <pc:graphicFrameChg chg="mod modGraphic">
          <ac:chgData name="Krishna  Patel" userId="ed2200d0-4eed-40c6-ab36-78bc62005773" providerId="ADAL" clId="{15FA5FE1-2999-4637-A953-C5D2EA03449E}" dt="2025-07-16T07:14:27.661" v="378" actId="207"/>
          <ac:graphicFrameMkLst>
            <pc:docMk/>
            <pc:sldMk cId="1781220005" sldId="2147475616"/>
            <ac:graphicFrameMk id="17" creationId="{83A931C1-659B-AA6D-5821-AEDE185B93E7}"/>
          </ac:graphicFrameMkLst>
        </pc:graphicFrameChg>
      </pc:sldChg>
      <pc:sldChg chg="modSp mod modAnim">
        <pc:chgData name="Krishna  Patel" userId="ed2200d0-4eed-40c6-ab36-78bc62005773" providerId="ADAL" clId="{15FA5FE1-2999-4637-A953-C5D2EA03449E}" dt="2025-07-16T11:44:38.452" v="1150"/>
        <pc:sldMkLst>
          <pc:docMk/>
          <pc:sldMk cId="3164243038" sldId="2147475617"/>
        </pc:sldMkLst>
        <pc:spChg chg="mod">
          <ac:chgData name="Krishna  Patel" userId="ed2200d0-4eed-40c6-ab36-78bc62005773" providerId="ADAL" clId="{15FA5FE1-2999-4637-A953-C5D2EA03449E}" dt="2025-07-16T11:23:44.502" v="1063"/>
          <ac:spMkLst>
            <pc:docMk/>
            <pc:sldMk cId="3164243038" sldId="2147475617"/>
            <ac:spMk id="5" creationId="{3513571E-675C-62F5-21F0-F1CCF9DA1591}"/>
          </ac:spMkLst>
        </pc:spChg>
        <pc:spChg chg="mod">
          <ac:chgData name="Krishna  Patel" userId="ed2200d0-4eed-40c6-ab36-78bc62005773" providerId="ADAL" clId="{15FA5FE1-2999-4637-A953-C5D2EA03449E}" dt="2025-07-16T07:14:48.432" v="383" actId="1036"/>
          <ac:spMkLst>
            <pc:docMk/>
            <pc:sldMk cId="3164243038" sldId="2147475617"/>
            <ac:spMk id="16" creationId="{077E724F-BF90-DA32-474C-C694470808AE}"/>
          </ac:spMkLst>
        </pc:spChg>
        <pc:picChg chg="mod">
          <ac:chgData name="Krishna  Patel" userId="ed2200d0-4eed-40c6-ab36-78bc62005773" providerId="ADAL" clId="{15FA5FE1-2999-4637-A953-C5D2EA03449E}" dt="2025-07-16T07:14:40.721" v="379" actId="1076"/>
          <ac:picMkLst>
            <pc:docMk/>
            <pc:sldMk cId="3164243038" sldId="2147475617"/>
            <ac:picMk id="2" creationId="{5989DC19-7024-E482-AFC9-312BAC4C493D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4:51.511" v="1152"/>
        <pc:sldMkLst>
          <pc:docMk/>
          <pc:sldMk cId="1903098560" sldId="2147475618"/>
        </pc:sldMkLst>
        <pc:spChg chg="mod">
          <ac:chgData name="Krishna  Patel" userId="ed2200d0-4eed-40c6-ab36-78bc62005773" providerId="ADAL" clId="{15FA5FE1-2999-4637-A953-C5D2EA03449E}" dt="2025-07-16T07:14:55.002" v="386" actId="1035"/>
          <ac:spMkLst>
            <pc:docMk/>
            <pc:sldMk cId="1903098560" sldId="2147475618"/>
            <ac:spMk id="3" creationId="{9E264A7A-9DC0-6C70-5B29-C484AB2E2200}"/>
          </ac:spMkLst>
        </pc:spChg>
        <pc:spChg chg="mod">
          <ac:chgData name="Krishna  Patel" userId="ed2200d0-4eed-40c6-ab36-78bc62005773" providerId="ADAL" clId="{15FA5FE1-2999-4637-A953-C5D2EA03449E}" dt="2025-07-16T11:23:46.847" v="1064"/>
          <ac:spMkLst>
            <pc:docMk/>
            <pc:sldMk cId="1903098560" sldId="2147475618"/>
            <ac:spMk id="5" creationId="{EBC1E35C-A099-119D-4F90-1AF8AAF70DA1}"/>
          </ac:spMkLst>
        </pc:spChg>
        <pc:spChg chg="mod">
          <ac:chgData name="Krishna  Patel" userId="ed2200d0-4eed-40c6-ab36-78bc62005773" providerId="ADAL" clId="{15FA5FE1-2999-4637-A953-C5D2EA03449E}" dt="2025-07-16T07:15:14.293" v="398" actId="1076"/>
          <ac:spMkLst>
            <pc:docMk/>
            <pc:sldMk cId="1903098560" sldId="2147475618"/>
            <ac:spMk id="16" creationId="{75B0D034-4B7A-6D53-1DFF-1E193EB4803D}"/>
          </ac:spMkLst>
        </pc:spChg>
        <pc:picChg chg="mod">
          <ac:chgData name="Krishna  Patel" userId="ed2200d0-4eed-40c6-ab36-78bc62005773" providerId="ADAL" clId="{15FA5FE1-2999-4637-A953-C5D2EA03449E}" dt="2025-07-16T07:15:20.502" v="399" actId="14100"/>
          <ac:picMkLst>
            <pc:docMk/>
            <pc:sldMk cId="1903098560" sldId="2147475618"/>
            <ac:picMk id="14" creationId="{00C4389F-DCC5-0132-5B41-36B5E11D85B8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5:01.289" v="1154"/>
        <pc:sldMkLst>
          <pc:docMk/>
          <pc:sldMk cId="4019409204" sldId="2147475619"/>
        </pc:sldMkLst>
        <pc:spChg chg="mod">
          <ac:chgData name="Krishna  Patel" userId="ed2200d0-4eed-40c6-ab36-78bc62005773" providerId="ADAL" clId="{15FA5FE1-2999-4637-A953-C5D2EA03449E}" dt="2025-07-16T07:16:45.471" v="419" actId="1036"/>
          <ac:spMkLst>
            <pc:docMk/>
            <pc:sldMk cId="4019409204" sldId="2147475619"/>
            <ac:spMk id="3" creationId="{FDF2F73C-5B2B-F99B-DC57-B7E6EAF9923E}"/>
          </ac:spMkLst>
        </pc:spChg>
        <pc:spChg chg="mod">
          <ac:chgData name="Krishna  Patel" userId="ed2200d0-4eed-40c6-ab36-78bc62005773" providerId="ADAL" clId="{15FA5FE1-2999-4637-A953-C5D2EA03449E}" dt="2025-07-16T11:23:49.282" v="1065"/>
          <ac:spMkLst>
            <pc:docMk/>
            <pc:sldMk cId="4019409204" sldId="2147475619"/>
            <ac:spMk id="5" creationId="{D21F057A-3497-470A-00C0-DDD80168AF31}"/>
          </ac:spMkLst>
        </pc:spChg>
        <pc:spChg chg="mod">
          <ac:chgData name="Krishna  Patel" userId="ed2200d0-4eed-40c6-ab36-78bc62005773" providerId="ADAL" clId="{15FA5FE1-2999-4637-A953-C5D2EA03449E}" dt="2025-07-16T07:16:29.361" v="417" actId="1076"/>
          <ac:spMkLst>
            <pc:docMk/>
            <pc:sldMk cId="4019409204" sldId="2147475619"/>
            <ac:spMk id="11" creationId="{5312FF18-E054-091C-237F-82248583988B}"/>
          </ac:spMkLst>
        </pc:spChg>
        <pc:picChg chg="mod">
          <ac:chgData name="Krishna  Patel" userId="ed2200d0-4eed-40c6-ab36-78bc62005773" providerId="ADAL" clId="{15FA5FE1-2999-4637-A953-C5D2EA03449E}" dt="2025-07-16T07:16:08.541" v="405" actId="14100"/>
          <ac:picMkLst>
            <pc:docMk/>
            <pc:sldMk cId="4019409204" sldId="2147475619"/>
            <ac:picMk id="9" creationId="{F7AD1545-F9B3-2C0B-343D-AF77FCB1D4D5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5:14.267" v="1157"/>
        <pc:sldMkLst>
          <pc:docMk/>
          <pc:sldMk cId="4003703235" sldId="2147475620"/>
        </pc:sldMkLst>
        <pc:spChg chg="mod">
          <ac:chgData name="Krishna  Patel" userId="ed2200d0-4eed-40c6-ab36-78bc62005773" providerId="ADAL" clId="{15FA5FE1-2999-4637-A953-C5D2EA03449E}" dt="2025-07-16T11:45:09.581" v="1156" actId="1035"/>
          <ac:spMkLst>
            <pc:docMk/>
            <pc:sldMk cId="4003703235" sldId="2147475620"/>
            <ac:spMk id="3" creationId="{5B8997EB-70D2-C6E9-E4D8-52956819AAC9}"/>
          </ac:spMkLst>
        </pc:spChg>
        <pc:spChg chg="mod">
          <ac:chgData name="Krishna  Patel" userId="ed2200d0-4eed-40c6-ab36-78bc62005773" providerId="ADAL" clId="{15FA5FE1-2999-4637-A953-C5D2EA03449E}" dt="2025-07-16T11:23:51.445" v="1066"/>
          <ac:spMkLst>
            <pc:docMk/>
            <pc:sldMk cId="4003703235" sldId="2147475620"/>
            <ac:spMk id="5" creationId="{8FA7857D-223F-79EF-5E19-17C582363CAD}"/>
          </ac:spMkLst>
        </pc:spChg>
        <pc:picChg chg="mod">
          <ac:chgData name="Krishna  Patel" userId="ed2200d0-4eed-40c6-ab36-78bc62005773" providerId="ADAL" clId="{15FA5FE1-2999-4637-A953-C5D2EA03449E}" dt="2025-07-16T07:17:02.631" v="426" actId="1076"/>
          <ac:picMkLst>
            <pc:docMk/>
            <pc:sldMk cId="4003703235" sldId="2147475620"/>
            <ac:picMk id="9" creationId="{B7D30CA2-FCA6-A51D-3762-088253653B9C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5:49.101" v="1159"/>
        <pc:sldMkLst>
          <pc:docMk/>
          <pc:sldMk cId="3798911062" sldId="2147475621"/>
        </pc:sldMkLst>
        <pc:spChg chg="mod">
          <ac:chgData name="Krishna  Patel" userId="ed2200d0-4eed-40c6-ab36-78bc62005773" providerId="ADAL" clId="{15FA5FE1-2999-4637-A953-C5D2EA03449E}" dt="2025-07-16T07:17:19.331" v="432" actId="1036"/>
          <ac:spMkLst>
            <pc:docMk/>
            <pc:sldMk cId="3798911062" sldId="2147475621"/>
            <ac:spMk id="3" creationId="{43FBC76F-30A5-4CF9-F26E-2041C197E101}"/>
          </ac:spMkLst>
        </pc:spChg>
        <pc:spChg chg="mod">
          <ac:chgData name="Krishna  Patel" userId="ed2200d0-4eed-40c6-ab36-78bc62005773" providerId="ADAL" clId="{15FA5FE1-2999-4637-A953-C5D2EA03449E}" dt="2025-07-16T11:23:54.896" v="1067"/>
          <ac:spMkLst>
            <pc:docMk/>
            <pc:sldMk cId="3798911062" sldId="2147475621"/>
            <ac:spMk id="5" creationId="{DCF8F857-B588-B261-EB15-F83C17116A3A}"/>
          </ac:spMkLst>
        </pc:spChg>
        <pc:picChg chg="mod">
          <ac:chgData name="Krishna  Patel" userId="ed2200d0-4eed-40c6-ab36-78bc62005773" providerId="ADAL" clId="{15FA5FE1-2999-4637-A953-C5D2EA03449E}" dt="2025-07-16T07:17:15.291" v="430" actId="1076"/>
          <ac:picMkLst>
            <pc:docMk/>
            <pc:sldMk cId="3798911062" sldId="2147475621"/>
            <ac:picMk id="9" creationId="{7DA6FC5C-FB1D-820C-7397-C186DABED8D1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6:01.852" v="1161"/>
        <pc:sldMkLst>
          <pc:docMk/>
          <pc:sldMk cId="3742440379" sldId="2147475622"/>
        </pc:sldMkLst>
        <pc:spChg chg="mod">
          <ac:chgData name="Krishna  Patel" userId="ed2200d0-4eed-40c6-ab36-78bc62005773" providerId="ADAL" clId="{15FA5FE1-2999-4637-A953-C5D2EA03449E}" dt="2025-07-16T07:17:43.131" v="441" actId="1036"/>
          <ac:spMkLst>
            <pc:docMk/>
            <pc:sldMk cId="3742440379" sldId="2147475622"/>
            <ac:spMk id="3" creationId="{EADF2187-9DA5-6F2B-322C-4F5CB6B5BC81}"/>
          </ac:spMkLst>
        </pc:spChg>
        <pc:spChg chg="mod">
          <ac:chgData name="Krishna  Patel" userId="ed2200d0-4eed-40c6-ab36-78bc62005773" providerId="ADAL" clId="{15FA5FE1-2999-4637-A953-C5D2EA03449E}" dt="2025-07-16T11:23:57.113" v="1068"/>
          <ac:spMkLst>
            <pc:docMk/>
            <pc:sldMk cId="3742440379" sldId="2147475622"/>
            <ac:spMk id="5" creationId="{AAB38D80-24F1-54F9-79B6-DABB42F9A2E2}"/>
          </ac:spMkLst>
        </pc:spChg>
        <pc:picChg chg="mod">
          <ac:chgData name="Krishna  Patel" userId="ed2200d0-4eed-40c6-ab36-78bc62005773" providerId="ADAL" clId="{15FA5FE1-2999-4637-A953-C5D2EA03449E}" dt="2025-07-16T07:17:38.275" v="436" actId="1076"/>
          <ac:picMkLst>
            <pc:docMk/>
            <pc:sldMk cId="3742440379" sldId="2147475622"/>
            <ac:picMk id="9" creationId="{23B888C7-58D2-90CD-89A2-5C36CC8915FA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6:08.997" v="1163"/>
        <pc:sldMkLst>
          <pc:docMk/>
          <pc:sldMk cId="315205713" sldId="2147475623"/>
        </pc:sldMkLst>
        <pc:spChg chg="mod">
          <ac:chgData name="Krishna  Patel" userId="ed2200d0-4eed-40c6-ab36-78bc62005773" providerId="ADAL" clId="{15FA5FE1-2999-4637-A953-C5D2EA03449E}" dt="2025-07-16T07:18:05.185" v="460" actId="1035"/>
          <ac:spMkLst>
            <pc:docMk/>
            <pc:sldMk cId="315205713" sldId="2147475623"/>
            <ac:spMk id="3" creationId="{D0AB9DD3-654C-DE3D-C77C-70EC895884B5}"/>
          </ac:spMkLst>
        </pc:spChg>
        <pc:spChg chg="mod">
          <ac:chgData name="Krishna  Patel" userId="ed2200d0-4eed-40c6-ab36-78bc62005773" providerId="ADAL" clId="{15FA5FE1-2999-4637-A953-C5D2EA03449E}" dt="2025-07-16T11:24:00.256" v="1069"/>
          <ac:spMkLst>
            <pc:docMk/>
            <pc:sldMk cId="315205713" sldId="2147475623"/>
            <ac:spMk id="5" creationId="{D16EF2E7-65D4-08D6-5816-1943354E4090}"/>
          </ac:spMkLst>
        </pc:spChg>
        <pc:picChg chg="mod">
          <ac:chgData name="Krishna  Patel" userId="ed2200d0-4eed-40c6-ab36-78bc62005773" providerId="ADAL" clId="{15FA5FE1-2999-4637-A953-C5D2EA03449E}" dt="2025-07-16T07:18:00.991" v="456" actId="1076"/>
          <ac:picMkLst>
            <pc:docMk/>
            <pc:sldMk cId="315205713" sldId="2147475623"/>
            <ac:picMk id="13" creationId="{66659290-F093-4244-E23B-319A5E48BF12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6:15.251" v="1165"/>
        <pc:sldMkLst>
          <pc:docMk/>
          <pc:sldMk cId="1719978085" sldId="2147475624"/>
        </pc:sldMkLst>
        <pc:spChg chg="mod">
          <ac:chgData name="Krishna  Patel" userId="ed2200d0-4eed-40c6-ab36-78bc62005773" providerId="ADAL" clId="{15FA5FE1-2999-4637-A953-C5D2EA03449E}" dt="2025-07-16T07:18:14.675" v="464" actId="1038"/>
          <ac:spMkLst>
            <pc:docMk/>
            <pc:sldMk cId="1719978085" sldId="2147475624"/>
            <ac:spMk id="3" creationId="{E664F8CA-22B3-3157-7846-E8EF3B4B08AA}"/>
          </ac:spMkLst>
        </pc:spChg>
        <pc:spChg chg="mod">
          <ac:chgData name="Krishna  Patel" userId="ed2200d0-4eed-40c6-ab36-78bc62005773" providerId="ADAL" clId="{15FA5FE1-2999-4637-A953-C5D2EA03449E}" dt="2025-07-16T11:24:02.544" v="1070"/>
          <ac:spMkLst>
            <pc:docMk/>
            <pc:sldMk cId="1719978085" sldId="2147475624"/>
            <ac:spMk id="5" creationId="{B886D934-F77D-E07E-DD16-99A4BB9926EF}"/>
          </ac:spMkLst>
        </pc:spChg>
        <pc:picChg chg="mod">
          <ac:chgData name="Krishna  Patel" userId="ed2200d0-4eed-40c6-ab36-78bc62005773" providerId="ADAL" clId="{15FA5FE1-2999-4637-A953-C5D2EA03449E}" dt="2025-07-16T07:18:22.571" v="467" actId="1076"/>
          <ac:picMkLst>
            <pc:docMk/>
            <pc:sldMk cId="1719978085" sldId="2147475624"/>
            <ac:picMk id="9" creationId="{05CC4EF8-F0D0-597B-1671-8AE75DCBE620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6:46.624" v="1167"/>
        <pc:sldMkLst>
          <pc:docMk/>
          <pc:sldMk cId="2176518984" sldId="2147475625"/>
        </pc:sldMkLst>
        <pc:spChg chg="mod">
          <ac:chgData name="Krishna  Patel" userId="ed2200d0-4eed-40c6-ab36-78bc62005773" providerId="ADAL" clId="{15FA5FE1-2999-4637-A953-C5D2EA03449E}" dt="2025-07-16T07:19:13.581" v="482" actId="1035"/>
          <ac:spMkLst>
            <pc:docMk/>
            <pc:sldMk cId="2176518984" sldId="2147475625"/>
            <ac:spMk id="3" creationId="{F6DA8720-3403-1F70-D98F-C96CDC97305A}"/>
          </ac:spMkLst>
        </pc:spChg>
        <pc:spChg chg="mod">
          <ac:chgData name="Krishna  Patel" userId="ed2200d0-4eed-40c6-ab36-78bc62005773" providerId="ADAL" clId="{15FA5FE1-2999-4637-A953-C5D2EA03449E}" dt="2025-07-16T11:24:05.056" v="1071"/>
          <ac:spMkLst>
            <pc:docMk/>
            <pc:sldMk cId="2176518984" sldId="2147475625"/>
            <ac:spMk id="5" creationId="{A8DB2A44-B8F0-4B87-9F84-1E5C3544B0C5}"/>
          </ac:spMkLst>
        </pc:spChg>
        <pc:picChg chg="mod modCrop">
          <ac:chgData name="Krishna  Patel" userId="ed2200d0-4eed-40c6-ab36-78bc62005773" providerId="ADAL" clId="{15FA5FE1-2999-4637-A953-C5D2EA03449E}" dt="2025-07-16T07:19:01.266" v="475" actId="1076"/>
          <ac:picMkLst>
            <pc:docMk/>
            <pc:sldMk cId="2176518984" sldId="2147475625"/>
            <ac:picMk id="7" creationId="{691CDC25-D38B-843A-7B33-529C5B5E734A}"/>
          </ac:picMkLst>
        </pc:picChg>
        <pc:picChg chg="mod">
          <ac:chgData name="Krishna  Patel" userId="ed2200d0-4eed-40c6-ab36-78bc62005773" providerId="ADAL" clId="{15FA5FE1-2999-4637-A953-C5D2EA03449E}" dt="2025-07-16T07:19:03.871" v="477" actId="1076"/>
          <ac:picMkLst>
            <pc:docMk/>
            <pc:sldMk cId="2176518984" sldId="2147475625"/>
            <ac:picMk id="11" creationId="{48DD58F3-3A7A-0AA7-E710-DB4750ADE6FE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7:01.146" v="1184"/>
        <pc:sldMkLst>
          <pc:docMk/>
          <pc:sldMk cId="258754120" sldId="2147475626"/>
        </pc:sldMkLst>
        <pc:spChg chg="mod">
          <ac:chgData name="Krishna  Patel" userId="ed2200d0-4eed-40c6-ab36-78bc62005773" providerId="ADAL" clId="{15FA5FE1-2999-4637-A953-C5D2EA03449E}" dt="2025-07-16T11:46:54.044" v="1182" actId="1036"/>
          <ac:spMkLst>
            <pc:docMk/>
            <pc:sldMk cId="258754120" sldId="2147475626"/>
            <ac:spMk id="3" creationId="{26D6CB7E-5CB5-C635-915A-0150BD0C1F28}"/>
          </ac:spMkLst>
        </pc:spChg>
        <pc:spChg chg="mod">
          <ac:chgData name="Krishna  Patel" userId="ed2200d0-4eed-40c6-ab36-78bc62005773" providerId="ADAL" clId="{15FA5FE1-2999-4637-A953-C5D2EA03449E}" dt="2025-07-16T11:24:07.681" v="1072"/>
          <ac:spMkLst>
            <pc:docMk/>
            <pc:sldMk cId="258754120" sldId="2147475626"/>
            <ac:spMk id="5" creationId="{A6EE6600-7F50-5536-0B02-444B5CB4CDE1}"/>
          </ac:spMkLst>
        </pc:spChg>
      </pc:sldChg>
      <pc:sldChg chg="addSp delSp modSp mod modAnim">
        <pc:chgData name="Krishna  Patel" userId="ed2200d0-4eed-40c6-ab36-78bc62005773" providerId="ADAL" clId="{15FA5FE1-2999-4637-A953-C5D2EA03449E}" dt="2025-07-16T11:47:10.197" v="1186"/>
        <pc:sldMkLst>
          <pc:docMk/>
          <pc:sldMk cId="2446588007" sldId="2147475627"/>
        </pc:sldMkLst>
        <pc:spChg chg="mod">
          <ac:chgData name="Krishna  Patel" userId="ed2200d0-4eed-40c6-ab36-78bc62005773" providerId="ADAL" clId="{15FA5FE1-2999-4637-A953-C5D2EA03449E}" dt="2025-07-16T07:28:13.567" v="512" actId="1035"/>
          <ac:spMkLst>
            <pc:docMk/>
            <pc:sldMk cId="2446588007" sldId="2147475627"/>
            <ac:spMk id="3" creationId="{7BC00209-CC6E-A339-BCF4-E075748C76D8}"/>
          </ac:spMkLst>
        </pc:spChg>
        <pc:spChg chg="mod">
          <ac:chgData name="Krishna  Patel" userId="ed2200d0-4eed-40c6-ab36-78bc62005773" providerId="ADAL" clId="{15FA5FE1-2999-4637-A953-C5D2EA03449E}" dt="2025-07-16T11:24:10.024" v="1073"/>
          <ac:spMkLst>
            <pc:docMk/>
            <pc:sldMk cId="2446588007" sldId="2147475627"/>
            <ac:spMk id="5" creationId="{B4E5525C-94E2-36EB-911A-65EE99843985}"/>
          </ac:spMkLst>
        </pc:spChg>
        <pc:picChg chg="add mod modCrop">
          <ac:chgData name="Krishna  Patel" userId="ed2200d0-4eed-40c6-ab36-78bc62005773" providerId="ADAL" clId="{15FA5FE1-2999-4637-A953-C5D2EA03449E}" dt="2025-07-16T07:28:17.577" v="523" actId="1035"/>
          <ac:picMkLst>
            <pc:docMk/>
            <pc:sldMk cId="2446588007" sldId="2147475627"/>
            <ac:picMk id="8" creationId="{6DE7AFE5-A5A0-CA7A-3BEC-5DA3D4A892AA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52:11.715" v="1282"/>
        <pc:sldMkLst>
          <pc:docMk/>
          <pc:sldMk cId="2734229790" sldId="2147475628"/>
        </pc:sldMkLst>
        <pc:spChg chg="mod">
          <ac:chgData name="Krishna  Patel" userId="ed2200d0-4eed-40c6-ab36-78bc62005773" providerId="ADAL" clId="{15FA5FE1-2999-4637-A953-C5D2EA03449E}" dt="2025-07-16T08:29:16.897" v="542" actId="1036"/>
          <ac:spMkLst>
            <pc:docMk/>
            <pc:sldMk cId="2734229790" sldId="2147475628"/>
            <ac:spMk id="3" creationId="{58D8D125-48CC-8B8C-1677-098FE583AEB9}"/>
          </ac:spMkLst>
        </pc:spChg>
        <pc:spChg chg="mod">
          <ac:chgData name="Krishna  Patel" userId="ed2200d0-4eed-40c6-ab36-78bc62005773" providerId="ADAL" clId="{15FA5FE1-2999-4637-A953-C5D2EA03449E}" dt="2025-07-16T11:24:13.469" v="1074"/>
          <ac:spMkLst>
            <pc:docMk/>
            <pc:sldMk cId="2734229790" sldId="2147475628"/>
            <ac:spMk id="5" creationId="{EA2639CA-F267-AE12-4A9E-F6AB3CB45C87}"/>
          </ac:spMkLst>
        </pc:spChg>
        <pc:picChg chg="add mod modCrop">
          <ac:chgData name="Krishna  Patel" userId="ed2200d0-4eed-40c6-ab36-78bc62005773" providerId="ADAL" clId="{15FA5FE1-2999-4637-A953-C5D2EA03449E}" dt="2025-07-16T08:29:05.242" v="538"/>
          <ac:picMkLst>
            <pc:docMk/>
            <pc:sldMk cId="2734229790" sldId="2147475628"/>
            <ac:picMk id="8" creationId="{E4BF770B-4341-5E15-0511-F48F2117679C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52:19.749" v="1283"/>
        <pc:sldMkLst>
          <pc:docMk/>
          <pc:sldMk cId="4067397847" sldId="2147475629"/>
        </pc:sldMkLst>
        <pc:spChg chg="mod">
          <ac:chgData name="Krishna  Patel" userId="ed2200d0-4eed-40c6-ab36-78bc62005773" providerId="ADAL" clId="{15FA5FE1-2999-4637-A953-C5D2EA03449E}" dt="2025-07-16T11:48:24.136" v="1207" actId="20577"/>
          <ac:spMkLst>
            <pc:docMk/>
            <pc:sldMk cId="4067397847" sldId="2147475629"/>
            <ac:spMk id="3" creationId="{E495C5DC-2795-DBB5-B50F-61DCAA877290}"/>
          </ac:spMkLst>
        </pc:spChg>
        <pc:spChg chg="mod">
          <ac:chgData name="Krishna  Patel" userId="ed2200d0-4eed-40c6-ab36-78bc62005773" providerId="ADAL" clId="{15FA5FE1-2999-4637-A953-C5D2EA03449E}" dt="2025-07-16T11:24:16.168" v="1075"/>
          <ac:spMkLst>
            <pc:docMk/>
            <pc:sldMk cId="4067397847" sldId="2147475629"/>
            <ac:spMk id="5" creationId="{1E98DDD5-6F66-FC4A-D5CB-024CDEA5D873}"/>
          </ac:spMkLst>
        </pc:spChg>
        <pc:picChg chg="add mod modCrop">
          <ac:chgData name="Krishna  Patel" userId="ed2200d0-4eed-40c6-ab36-78bc62005773" providerId="ADAL" clId="{15FA5FE1-2999-4637-A953-C5D2EA03449E}" dt="2025-07-16T08:45:37.406" v="567" actId="732"/>
          <ac:picMkLst>
            <pc:docMk/>
            <pc:sldMk cId="4067397847" sldId="2147475629"/>
            <ac:picMk id="13" creationId="{D3592BC5-066B-DD3A-A353-0A796BB9B41A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53:09.511" v="1292" actId="15"/>
        <pc:sldMkLst>
          <pc:docMk/>
          <pc:sldMk cId="2179393311" sldId="2147475630"/>
        </pc:sldMkLst>
        <pc:spChg chg="mod">
          <ac:chgData name="Krishna  Patel" userId="ed2200d0-4eed-40c6-ab36-78bc62005773" providerId="ADAL" clId="{15FA5FE1-2999-4637-A953-C5D2EA03449E}" dt="2025-07-16T11:53:09.511" v="1292" actId="15"/>
          <ac:spMkLst>
            <pc:docMk/>
            <pc:sldMk cId="2179393311" sldId="2147475630"/>
            <ac:spMk id="3" creationId="{51D5B7BB-9E99-CA44-7CE0-489977463B29}"/>
          </ac:spMkLst>
        </pc:spChg>
        <pc:spChg chg="mod">
          <ac:chgData name="Krishna  Patel" userId="ed2200d0-4eed-40c6-ab36-78bc62005773" providerId="ADAL" clId="{15FA5FE1-2999-4637-A953-C5D2EA03449E}" dt="2025-07-16T11:24:19.492" v="1076"/>
          <ac:spMkLst>
            <pc:docMk/>
            <pc:sldMk cId="2179393311" sldId="2147475630"/>
            <ac:spMk id="5" creationId="{B57AB86E-BB8A-520A-B4EE-6E930232A176}"/>
          </ac:spMkLst>
        </pc:spChg>
        <pc:picChg chg="add mod modCrop">
          <ac:chgData name="Krishna  Patel" userId="ed2200d0-4eed-40c6-ab36-78bc62005773" providerId="ADAL" clId="{15FA5FE1-2999-4637-A953-C5D2EA03449E}" dt="2025-07-16T09:07:59.863" v="603" actId="14100"/>
          <ac:picMkLst>
            <pc:docMk/>
            <pc:sldMk cId="2179393311" sldId="2147475630"/>
            <ac:picMk id="8" creationId="{9BFAD13D-F9C4-B6B4-CC6F-D8AC55640086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53:12.874" v="1293" actId="15"/>
        <pc:sldMkLst>
          <pc:docMk/>
          <pc:sldMk cId="3450008008" sldId="2147475631"/>
        </pc:sldMkLst>
        <pc:spChg chg="mod">
          <ac:chgData name="Krishna  Patel" userId="ed2200d0-4eed-40c6-ab36-78bc62005773" providerId="ADAL" clId="{15FA5FE1-2999-4637-A953-C5D2EA03449E}" dt="2025-07-16T11:53:12.874" v="1293" actId="15"/>
          <ac:spMkLst>
            <pc:docMk/>
            <pc:sldMk cId="3450008008" sldId="2147475631"/>
            <ac:spMk id="3" creationId="{0E8CC315-6958-FE97-FF48-5E77F5B0B88E}"/>
          </ac:spMkLst>
        </pc:spChg>
        <pc:spChg chg="mod">
          <ac:chgData name="Krishna  Patel" userId="ed2200d0-4eed-40c6-ab36-78bc62005773" providerId="ADAL" clId="{15FA5FE1-2999-4637-A953-C5D2EA03449E}" dt="2025-07-16T11:24:22.120" v="1077"/>
          <ac:spMkLst>
            <pc:docMk/>
            <pc:sldMk cId="3450008008" sldId="2147475631"/>
            <ac:spMk id="5" creationId="{A565D6B3-070D-9709-7DD3-E0AEC5BBF570}"/>
          </ac:spMkLst>
        </pc:spChg>
        <pc:picChg chg="add mod modCrop">
          <ac:chgData name="Krishna  Patel" userId="ed2200d0-4eed-40c6-ab36-78bc62005773" providerId="ADAL" clId="{15FA5FE1-2999-4637-A953-C5D2EA03449E}" dt="2025-07-16T09:18:45.102" v="619" actId="732"/>
          <ac:picMkLst>
            <pc:docMk/>
            <pc:sldMk cId="3450008008" sldId="2147475631"/>
            <ac:picMk id="11" creationId="{87202A17-73A9-75B5-EFC1-D2E550F52718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53:43.763" v="1299"/>
        <pc:sldMkLst>
          <pc:docMk/>
          <pc:sldMk cId="2074417893" sldId="2147475632"/>
        </pc:sldMkLst>
        <pc:spChg chg="mod">
          <ac:chgData name="Krishna  Patel" userId="ed2200d0-4eed-40c6-ab36-78bc62005773" providerId="ADAL" clId="{15FA5FE1-2999-4637-A953-C5D2EA03449E}" dt="2025-07-16T11:53:15.528" v="1294" actId="15"/>
          <ac:spMkLst>
            <pc:docMk/>
            <pc:sldMk cId="2074417893" sldId="2147475632"/>
            <ac:spMk id="3" creationId="{ADE15767-C043-7273-DC7E-96CB155532E0}"/>
          </ac:spMkLst>
        </pc:spChg>
        <pc:spChg chg="mod">
          <ac:chgData name="Krishna  Patel" userId="ed2200d0-4eed-40c6-ab36-78bc62005773" providerId="ADAL" clId="{15FA5FE1-2999-4637-A953-C5D2EA03449E}" dt="2025-07-16T11:24:24.226" v="1078"/>
          <ac:spMkLst>
            <pc:docMk/>
            <pc:sldMk cId="2074417893" sldId="2147475632"/>
            <ac:spMk id="5" creationId="{0E809BE4-1309-266C-B02F-7B92E3C6F2D8}"/>
          </ac:spMkLst>
        </pc:spChg>
        <pc:picChg chg="add mod modCrop">
          <ac:chgData name="Krishna  Patel" userId="ed2200d0-4eed-40c6-ab36-78bc62005773" providerId="ADAL" clId="{15FA5FE1-2999-4637-A953-C5D2EA03449E}" dt="2025-07-16T09:26:29.352" v="638" actId="1036"/>
          <ac:picMkLst>
            <pc:docMk/>
            <pc:sldMk cId="2074417893" sldId="2147475632"/>
            <ac:picMk id="8" creationId="{A33F699E-2192-AA1C-0D8F-8C9966BA645C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53:53.604" v="1301"/>
        <pc:sldMkLst>
          <pc:docMk/>
          <pc:sldMk cId="357655941" sldId="2147475633"/>
        </pc:sldMkLst>
        <pc:spChg chg="mod">
          <ac:chgData name="Krishna  Patel" userId="ed2200d0-4eed-40c6-ab36-78bc62005773" providerId="ADAL" clId="{15FA5FE1-2999-4637-A953-C5D2EA03449E}" dt="2025-07-16T11:53:18.029" v="1295" actId="15"/>
          <ac:spMkLst>
            <pc:docMk/>
            <pc:sldMk cId="357655941" sldId="2147475633"/>
            <ac:spMk id="3" creationId="{2D87FAEE-7083-82A5-69DC-76A8D15584E9}"/>
          </ac:spMkLst>
        </pc:spChg>
        <pc:spChg chg="mod">
          <ac:chgData name="Krishna  Patel" userId="ed2200d0-4eed-40c6-ab36-78bc62005773" providerId="ADAL" clId="{15FA5FE1-2999-4637-A953-C5D2EA03449E}" dt="2025-07-16T11:24:26.388" v="1079"/>
          <ac:spMkLst>
            <pc:docMk/>
            <pc:sldMk cId="357655941" sldId="2147475633"/>
            <ac:spMk id="5" creationId="{54567525-EE6B-3986-0EE6-CC109EFF4C57}"/>
          </ac:spMkLst>
        </pc:spChg>
        <pc:picChg chg="add mod modCrop">
          <ac:chgData name="Krishna  Patel" userId="ed2200d0-4eed-40c6-ab36-78bc62005773" providerId="ADAL" clId="{15FA5FE1-2999-4637-A953-C5D2EA03449E}" dt="2025-07-16T09:36:17.772" v="653"/>
          <ac:picMkLst>
            <pc:docMk/>
            <pc:sldMk cId="357655941" sldId="2147475633"/>
            <ac:picMk id="8" creationId="{C66E1E4A-D626-80B0-FE4C-CD40634D4AB2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54:09.976" v="1303"/>
        <pc:sldMkLst>
          <pc:docMk/>
          <pc:sldMk cId="551477293" sldId="2147475634"/>
        </pc:sldMkLst>
        <pc:spChg chg="mod">
          <ac:chgData name="Krishna  Patel" userId="ed2200d0-4eed-40c6-ab36-78bc62005773" providerId="ADAL" clId="{15FA5FE1-2999-4637-A953-C5D2EA03449E}" dt="2025-07-16T11:53:20.573" v="1296" actId="15"/>
          <ac:spMkLst>
            <pc:docMk/>
            <pc:sldMk cId="551477293" sldId="2147475634"/>
            <ac:spMk id="3" creationId="{3E06DB5B-61B0-45FD-591E-09206EEBE422}"/>
          </ac:spMkLst>
        </pc:spChg>
        <pc:spChg chg="mod">
          <ac:chgData name="Krishna  Patel" userId="ed2200d0-4eed-40c6-ab36-78bc62005773" providerId="ADAL" clId="{15FA5FE1-2999-4637-A953-C5D2EA03449E}" dt="2025-07-16T11:24:28.533" v="1080"/>
          <ac:spMkLst>
            <pc:docMk/>
            <pc:sldMk cId="551477293" sldId="2147475634"/>
            <ac:spMk id="5" creationId="{A1E9BF4B-EC6D-2DFE-C3C5-A0C1BC873F8C}"/>
          </ac:spMkLst>
        </pc:spChg>
        <pc:spChg chg="add mod">
          <ac:chgData name="Krishna  Patel" userId="ed2200d0-4eed-40c6-ab36-78bc62005773" providerId="ADAL" clId="{15FA5FE1-2999-4637-A953-C5D2EA03449E}" dt="2025-07-16T09:56:49.847" v="686" actId="164"/>
          <ac:spMkLst>
            <pc:docMk/>
            <pc:sldMk cId="551477293" sldId="2147475634"/>
            <ac:spMk id="12" creationId="{F7A9C591-08BA-AD7B-11E9-ED61E95C5577}"/>
          </ac:spMkLst>
        </pc:spChg>
        <pc:grpChg chg="add mod">
          <ac:chgData name="Krishna  Patel" userId="ed2200d0-4eed-40c6-ab36-78bc62005773" providerId="ADAL" clId="{15FA5FE1-2999-4637-A953-C5D2EA03449E}" dt="2025-07-16T10:21:39.235" v="894" actId="1035"/>
          <ac:grpSpMkLst>
            <pc:docMk/>
            <pc:sldMk cId="551477293" sldId="2147475634"/>
            <ac:grpSpMk id="13" creationId="{D246F61E-FEE4-A2A4-C195-BE8DF36E23A3}"/>
          </ac:grpSpMkLst>
        </pc:grpChg>
        <pc:picChg chg="add mod modCrop">
          <ac:chgData name="Krishna  Patel" userId="ed2200d0-4eed-40c6-ab36-78bc62005773" providerId="ADAL" clId="{15FA5FE1-2999-4637-A953-C5D2EA03449E}" dt="2025-07-16T09:56:49.847" v="686" actId="164"/>
          <ac:picMkLst>
            <pc:docMk/>
            <pc:sldMk cId="551477293" sldId="2147475634"/>
            <ac:picMk id="8" creationId="{61A062DC-1232-C660-3514-89FA533B43FE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54:49.993" v="1305"/>
        <pc:sldMkLst>
          <pc:docMk/>
          <pc:sldMk cId="2909890247" sldId="2147475635"/>
        </pc:sldMkLst>
        <pc:spChg chg="mod">
          <ac:chgData name="Krishna  Patel" userId="ed2200d0-4eed-40c6-ab36-78bc62005773" providerId="ADAL" clId="{15FA5FE1-2999-4637-A953-C5D2EA03449E}" dt="2025-07-16T11:53:25.250" v="1297" actId="15"/>
          <ac:spMkLst>
            <pc:docMk/>
            <pc:sldMk cId="2909890247" sldId="2147475635"/>
            <ac:spMk id="3" creationId="{0224E166-3941-DE1E-4153-EF7882ABAB23}"/>
          </ac:spMkLst>
        </pc:spChg>
        <pc:spChg chg="mod">
          <ac:chgData name="Krishna  Patel" userId="ed2200d0-4eed-40c6-ab36-78bc62005773" providerId="ADAL" clId="{15FA5FE1-2999-4637-A953-C5D2EA03449E}" dt="2025-07-16T11:24:31.052" v="1081"/>
          <ac:spMkLst>
            <pc:docMk/>
            <pc:sldMk cId="2909890247" sldId="2147475635"/>
            <ac:spMk id="5" creationId="{EF61EEA5-8C7B-71CA-0271-02DB1480E6FE}"/>
          </ac:spMkLst>
        </pc:spChg>
        <pc:picChg chg="add mod modCrop">
          <ac:chgData name="Krishna  Patel" userId="ed2200d0-4eed-40c6-ab36-78bc62005773" providerId="ADAL" clId="{15FA5FE1-2999-4637-A953-C5D2EA03449E}" dt="2025-07-16T10:21:27.887" v="891"/>
          <ac:picMkLst>
            <pc:docMk/>
            <pc:sldMk cId="2909890247" sldId="2147475635"/>
            <ac:picMk id="8" creationId="{3DD281BD-2BA2-6B68-EBC7-519A0256A107}"/>
          </ac:picMkLst>
        </pc:picChg>
      </pc:sldChg>
      <pc:sldChg chg="modSp mod">
        <pc:chgData name="Krishna  Patel" userId="ed2200d0-4eed-40c6-ab36-78bc62005773" providerId="ADAL" clId="{15FA5FE1-2999-4637-A953-C5D2EA03449E}" dt="2025-07-16T11:24:33.058" v="1082"/>
        <pc:sldMkLst>
          <pc:docMk/>
          <pc:sldMk cId="1245057207" sldId="2147475636"/>
        </pc:sldMkLst>
        <pc:spChg chg="mod">
          <ac:chgData name="Krishna  Patel" userId="ed2200d0-4eed-40c6-ab36-78bc62005773" providerId="ADAL" clId="{15FA5FE1-2999-4637-A953-C5D2EA03449E}" dt="2025-07-16T11:24:33.058" v="1082"/>
          <ac:spMkLst>
            <pc:docMk/>
            <pc:sldMk cId="1245057207" sldId="2147475636"/>
            <ac:spMk id="5" creationId="{3238B209-62CE-E110-0B8E-D1B17D284D63}"/>
          </ac:spMkLst>
        </pc:spChg>
        <pc:graphicFrameChg chg="mod modGraphic">
          <ac:chgData name="Krishna  Patel" userId="ed2200d0-4eed-40c6-ab36-78bc62005773" providerId="ADAL" clId="{15FA5FE1-2999-4637-A953-C5D2EA03449E}" dt="2025-07-16T10:04:26.938" v="727" actId="207"/>
          <ac:graphicFrameMkLst>
            <pc:docMk/>
            <pc:sldMk cId="1245057207" sldId="2147475636"/>
            <ac:graphicFrameMk id="10" creationId="{55DFADC2-F94F-6C29-97A1-944252E82DC5}"/>
          </ac:graphicFrameMkLst>
        </pc:graphicFrameChg>
      </pc:sldChg>
      <pc:sldChg chg="modSp mod">
        <pc:chgData name="Krishna  Patel" userId="ed2200d0-4eed-40c6-ab36-78bc62005773" providerId="ADAL" clId="{15FA5FE1-2999-4637-A953-C5D2EA03449E}" dt="2025-07-16T11:24:35.619" v="1083"/>
        <pc:sldMkLst>
          <pc:docMk/>
          <pc:sldMk cId="1440384364" sldId="2147475637"/>
        </pc:sldMkLst>
        <pc:spChg chg="mod">
          <ac:chgData name="Krishna  Patel" userId="ed2200d0-4eed-40c6-ab36-78bc62005773" providerId="ADAL" clId="{15FA5FE1-2999-4637-A953-C5D2EA03449E}" dt="2025-07-16T11:24:35.619" v="1083"/>
          <ac:spMkLst>
            <pc:docMk/>
            <pc:sldMk cId="1440384364" sldId="2147475637"/>
            <ac:spMk id="5" creationId="{9139912D-E9E3-4D74-24D5-69785107C152}"/>
          </ac:spMkLst>
        </pc:spChg>
        <pc:graphicFrameChg chg="mod modGraphic">
          <ac:chgData name="Krishna  Patel" userId="ed2200d0-4eed-40c6-ab36-78bc62005773" providerId="ADAL" clId="{15FA5FE1-2999-4637-A953-C5D2EA03449E}" dt="2025-07-16T10:06:19.581" v="751" actId="14100"/>
          <ac:graphicFrameMkLst>
            <pc:docMk/>
            <pc:sldMk cId="1440384364" sldId="2147475637"/>
            <ac:graphicFrameMk id="7" creationId="{307F7849-E57F-3C21-A432-D287C18FF5D4}"/>
          </ac:graphicFrameMkLst>
        </pc:graphicFrameChg>
      </pc:sldChg>
      <pc:sldChg chg="modSp mod">
        <pc:chgData name="Krishna  Patel" userId="ed2200d0-4eed-40c6-ab36-78bc62005773" providerId="ADAL" clId="{15FA5FE1-2999-4637-A953-C5D2EA03449E}" dt="2025-07-16T11:24:39.022" v="1084"/>
        <pc:sldMkLst>
          <pc:docMk/>
          <pc:sldMk cId="1749280861" sldId="2147475638"/>
        </pc:sldMkLst>
        <pc:spChg chg="mod">
          <ac:chgData name="Krishna  Patel" userId="ed2200d0-4eed-40c6-ab36-78bc62005773" providerId="ADAL" clId="{15FA5FE1-2999-4637-A953-C5D2EA03449E}" dt="2025-07-16T11:24:39.022" v="1084"/>
          <ac:spMkLst>
            <pc:docMk/>
            <pc:sldMk cId="1749280861" sldId="2147475638"/>
            <ac:spMk id="5" creationId="{0E3CF526-9B65-A858-EA61-21D06E2612C5}"/>
          </ac:spMkLst>
        </pc:spChg>
        <pc:graphicFrameChg chg="mod modGraphic">
          <ac:chgData name="Krishna  Patel" userId="ed2200d0-4eed-40c6-ab36-78bc62005773" providerId="ADAL" clId="{15FA5FE1-2999-4637-A953-C5D2EA03449E}" dt="2025-07-16T10:06:07.540" v="750" actId="14734"/>
          <ac:graphicFrameMkLst>
            <pc:docMk/>
            <pc:sldMk cId="1749280861" sldId="2147475638"/>
            <ac:graphicFrameMk id="8" creationId="{DB70C866-2BDC-7B07-5E7A-1D53012BCB8A}"/>
          </ac:graphicFrameMkLst>
        </pc:graphicFrameChg>
      </pc:sldChg>
      <pc:sldChg chg="addSp delSp modSp mod modAnim">
        <pc:chgData name="Krishna  Patel" userId="ed2200d0-4eed-40c6-ab36-78bc62005773" providerId="ADAL" clId="{15FA5FE1-2999-4637-A953-C5D2EA03449E}" dt="2025-07-16T11:55:30.921" v="1310"/>
        <pc:sldMkLst>
          <pc:docMk/>
          <pc:sldMk cId="383934603" sldId="2147475639"/>
        </pc:sldMkLst>
        <pc:spChg chg="mod">
          <ac:chgData name="Krishna  Patel" userId="ed2200d0-4eed-40c6-ab36-78bc62005773" providerId="ADAL" clId="{15FA5FE1-2999-4637-A953-C5D2EA03449E}" dt="2025-07-16T10:14:19.800" v="848" actId="14100"/>
          <ac:spMkLst>
            <pc:docMk/>
            <pc:sldMk cId="383934603" sldId="2147475639"/>
            <ac:spMk id="3" creationId="{FAFC8559-1786-FE87-8FB8-C0ED1A11C8B9}"/>
          </ac:spMkLst>
        </pc:spChg>
        <pc:spChg chg="mod">
          <ac:chgData name="Krishna  Patel" userId="ed2200d0-4eed-40c6-ab36-78bc62005773" providerId="ADAL" clId="{15FA5FE1-2999-4637-A953-C5D2EA03449E}" dt="2025-07-16T11:24:41.057" v="1085"/>
          <ac:spMkLst>
            <pc:docMk/>
            <pc:sldMk cId="383934603" sldId="2147475639"/>
            <ac:spMk id="5" creationId="{53A5A375-00A3-3DCF-C761-79C62AA41011}"/>
          </ac:spMkLst>
        </pc:spChg>
        <pc:spChg chg="add del mod">
          <ac:chgData name="Krishna  Patel" userId="ed2200d0-4eed-40c6-ab36-78bc62005773" providerId="ADAL" clId="{15FA5FE1-2999-4637-A953-C5D2EA03449E}" dt="2025-07-16T10:14:19.210" v="847" actId="21"/>
          <ac:spMkLst>
            <pc:docMk/>
            <pc:sldMk cId="383934603" sldId="2147475639"/>
            <ac:spMk id="7" creationId="{3A8CF5A8-6949-F807-B53C-C2620EABE40D}"/>
          </ac:spMkLst>
        </pc:spChg>
        <pc:spChg chg="mod">
          <ac:chgData name="Krishna  Patel" userId="ed2200d0-4eed-40c6-ab36-78bc62005773" providerId="ADAL" clId="{15FA5FE1-2999-4637-A953-C5D2EA03449E}" dt="2025-07-16T10:08:51.189" v="782" actId="12"/>
          <ac:spMkLst>
            <pc:docMk/>
            <pc:sldMk cId="383934603" sldId="2147475639"/>
            <ac:spMk id="12" creationId="{D50C8160-F939-7DA4-1556-E32AA71245FC}"/>
          </ac:spMkLst>
        </pc:spChg>
        <pc:spChg chg="mod">
          <ac:chgData name="Krishna  Patel" userId="ed2200d0-4eed-40c6-ab36-78bc62005773" providerId="ADAL" clId="{15FA5FE1-2999-4637-A953-C5D2EA03449E}" dt="2025-07-16T10:08:51.189" v="782" actId="12"/>
          <ac:spMkLst>
            <pc:docMk/>
            <pc:sldMk cId="383934603" sldId="2147475639"/>
            <ac:spMk id="13" creationId="{8497542B-4A78-EC9C-7B48-BE0B6441F18D}"/>
          </ac:spMkLst>
        </pc:spChg>
        <pc:spChg chg="mod">
          <ac:chgData name="Krishna  Patel" userId="ed2200d0-4eed-40c6-ab36-78bc62005773" providerId="ADAL" clId="{15FA5FE1-2999-4637-A953-C5D2EA03449E}" dt="2025-07-16T10:08:51.189" v="782" actId="12"/>
          <ac:spMkLst>
            <pc:docMk/>
            <pc:sldMk cId="383934603" sldId="2147475639"/>
            <ac:spMk id="14" creationId="{5389492C-D9B5-05D7-2B51-5205105A3E09}"/>
          </ac:spMkLst>
        </pc:spChg>
        <pc:spChg chg="mod">
          <ac:chgData name="Krishna  Patel" userId="ed2200d0-4eed-40c6-ab36-78bc62005773" providerId="ADAL" clId="{15FA5FE1-2999-4637-A953-C5D2EA03449E}" dt="2025-07-16T10:08:51.189" v="782" actId="12"/>
          <ac:spMkLst>
            <pc:docMk/>
            <pc:sldMk cId="383934603" sldId="2147475639"/>
            <ac:spMk id="15" creationId="{7211A5D5-8652-3618-6593-1CFB0AD54DBE}"/>
          </ac:spMkLst>
        </pc:spChg>
        <pc:spChg chg="mod">
          <ac:chgData name="Krishna  Patel" userId="ed2200d0-4eed-40c6-ab36-78bc62005773" providerId="ADAL" clId="{15FA5FE1-2999-4637-A953-C5D2EA03449E}" dt="2025-07-16T10:09:10.276" v="784" actId="1076"/>
          <ac:spMkLst>
            <pc:docMk/>
            <pc:sldMk cId="383934603" sldId="2147475639"/>
            <ac:spMk id="16" creationId="{39164D1F-B598-D8BF-362E-4C619BC0BFD2}"/>
          </ac:spMkLst>
        </pc:spChg>
        <pc:grpChg chg="mod">
          <ac:chgData name="Krishna  Patel" userId="ed2200d0-4eed-40c6-ab36-78bc62005773" providerId="ADAL" clId="{15FA5FE1-2999-4637-A953-C5D2EA03449E}" dt="2025-07-16T10:14:18.112" v="845" actId="1076"/>
          <ac:grpSpMkLst>
            <pc:docMk/>
            <pc:sldMk cId="383934603" sldId="2147475639"/>
            <ac:grpSpMk id="11" creationId="{692F2E3A-5B63-E20E-FF70-1D9994B8C069}"/>
          </ac:grpSpMkLst>
        </pc:grpChg>
      </pc:sldChg>
      <pc:sldChg chg="addSp delSp modSp mod modAnim">
        <pc:chgData name="Krishna  Patel" userId="ed2200d0-4eed-40c6-ab36-78bc62005773" providerId="ADAL" clId="{15FA5FE1-2999-4637-A953-C5D2EA03449E}" dt="2025-07-16T11:55:37.875" v="1311"/>
        <pc:sldMkLst>
          <pc:docMk/>
          <pc:sldMk cId="3861098367" sldId="2147475640"/>
        </pc:sldMkLst>
        <pc:spChg chg="mod">
          <ac:chgData name="Krishna  Patel" userId="ed2200d0-4eed-40c6-ab36-78bc62005773" providerId="ADAL" clId="{15FA5FE1-2999-4637-A953-C5D2EA03449E}" dt="2025-07-16T10:10:40.369" v="801"/>
          <ac:spMkLst>
            <pc:docMk/>
            <pc:sldMk cId="3861098367" sldId="2147475640"/>
            <ac:spMk id="3" creationId="{00685101-3449-D35A-87AC-38877924BBC1}"/>
          </ac:spMkLst>
        </pc:spChg>
        <pc:spChg chg="mod">
          <ac:chgData name="Krishna  Patel" userId="ed2200d0-4eed-40c6-ab36-78bc62005773" providerId="ADAL" clId="{15FA5FE1-2999-4637-A953-C5D2EA03449E}" dt="2025-07-16T11:24:43.377" v="1086"/>
          <ac:spMkLst>
            <pc:docMk/>
            <pc:sldMk cId="3861098367" sldId="2147475640"/>
            <ac:spMk id="5" creationId="{D9A0B0F3-DB5E-DD0A-FFBA-286D7B10F18F}"/>
          </ac:spMkLst>
        </pc:spChg>
        <pc:spChg chg="mod">
          <ac:chgData name="Krishna  Patel" userId="ed2200d0-4eed-40c6-ab36-78bc62005773" providerId="ADAL" clId="{15FA5FE1-2999-4637-A953-C5D2EA03449E}" dt="2025-07-16T10:13:30.519" v="832" actId="3064"/>
          <ac:spMkLst>
            <pc:docMk/>
            <pc:sldMk cId="3861098367" sldId="2147475640"/>
            <ac:spMk id="12" creationId="{FA3839C8-61EA-EA44-17FB-B30EC0263949}"/>
          </ac:spMkLst>
        </pc:spChg>
        <pc:spChg chg="mod">
          <ac:chgData name="Krishna  Patel" userId="ed2200d0-4eed-40c6-ab36-78bc62005773" providerId="ADAL" clId="{15FA5FE1-2999-4637-A953-C5D2EA03449E}" dt="2025-07-16T10:13:30.519" v="832" actId="3064"/>
          <ac:spMkLst>
            <pc:docMk/>
            <pc:sldMk cId="3861098367" sldId="2147475640"/>
            <ac:spMk id="13" creationId="{F8253824-3D26-E3AB-D2EF-45BC2D52EB40}"/>
          </ac:spMkLst>
        </pc:spChg>
        <pc:spChg chg="mod">
          <ac:chgData name="Krishna  Patel" userId="ed2200d0-4eed-40c6-ab36-78bc62005773" providerId="ADAL" clId="{15FA5FE1-2999-4637-A953-C5D2EA03449E}" dt="2025-07-16T10:13:30.519" v="832" actId="3064"/>
          <ac:spMkLst>
            <pc:docMk/>
            <pc:sldMk cId="3861098367" sldId="2147475640"/>
            <ac:spMk id="14" creationId="{F69B35A1-668E-5493-4769-0193A72E6B76}"/>
          </ac:spMkLst>
        </pc:spChg>
        <pc:spChg chg="mod">
          <ac:chgData name="Krishna  Patel" userId="ed2200d0-4eed-40c6-ab36-78bc62005773" providerId="ADAL" clId="{15FA5FE1-2999-4637-A953-C5D2EA03449E}" dt="2025-07-16T10:13:30.519" v="832" actId="3064"/>
          <ac:spMkLst>
            <pc:docMk/>
            <pc:sldMk cId="3861098367" sldId="2147475640"/>
            <ac:spMk id="15" creationId="{64C56ABA-9961-9982-8FB0-383A78715DF7}"/>
          </ac:spMkLst>
        </pc:spChg>
        <pc:spChg chg="mod">
          <ac:chgData name="Krishna  Patel" userId="ed2200d0-4eed-40c6-ab36-78bc62005773" providerId="ADAL" clId="{15FA5FE1-2999-4637-A953-C5D2EA03449E}" dt="2025-07-16T10:13:30.519" v="832" actId="3064"/>
          <ac:spMkLst>
            <pc:docMk/>
            <pc:sldMk cId="3861098367" sldId="2147475640"/>
            <ac:spMk id="16" creationId="{7786AF3C-C330-A975-838B-CC667E81F116}"/>
          </ac:spMkLst>
        </pc:spChg>
        <pc:grpChg chg="mod">
          <ac:chgData name="Krishna  Patel" userId="ed2200d0-4eed-40c6-ab36-78bc62005773" providerId="ADAL" clId="{15FA5FE1-2999-4637-A953-C5D2EA03449E}" dt="2025-07-16T10:13:17.418" v="824" actId="14100"/>
          <ac:grpSpMkLst>
            <pc:docMk/>
            <pc:sldMk cId="3861098367" sldId="2147475640"/>
            <ac:grpSpMk id="11" creationId="{C734D7B4-3530-C9C8-2A1D-C37136EBF7EF}"/>
          </ac:grpSpMkLst>
        </pc:grpChg>
      </pc:sldChg>
      <pc:sldChg chg="modSp mod modAnim">
        <pc:chgData name="Krishna  Patel" userId="ed2200d0-4eed-40c6-ab36-78bc62005773" providerId="ADAL" clId="{15FA5FE1-2999-4637-A953-C5D2EA03449E}" dt="2025-07-16T11:51:51.544" v="1281"/>
        <pc:sldMkLst>
          <pc:docMk/>
          <pc:sldMk cId="2083972876" sldId="2147475641"/>
        </pc:sldMkLst>
        <pc:spChg chg="mod">
          <ac:chgData name="Krishna  Patel" userId="ed2200d0-4eed-40c6-ab36-78bc62005773" providerId="ADAL" clId="{15FA5FE1-2999-4637-A953-C5D2EA03449E}" dt="2025-07-16T11:24:45.476" v="1087"/>
          <ac:spMkLst>
            <pc:docMk/>
            <pc:sldMk cId="2083972876" sldId="2147475641"/>
            <ac:spMk id="5" creationId="{DAEB1BA0-FB7B-BDE9-A6C1-EE1F2F00BA9F}"/>
          </ac:spMkLst>
        </pc:spChg>
        <pc:spChg chg="mod">
          <ac:chgData name="Krishna  Patel" userId="ed2200d0-4eed-40c6-ab36-78bc62005773" providerId="ADAL" clId="{15FA5FE1-2999-4637-A953-C5D2EA03449E}" dt="2025-07-16T10:14:26.776" v="849" actId="14100"/>
          <ac:spMkLst>
            <pc:docMk/>
            <pc:sldMk cId="2083972876" sldId="2147475641"/>
            <ac:spMk id="11" creationId="{8EB10133-BAE9-830E-A6CD-F9237AF75BBF}"/>
          </ac:spMkLst>
        </pc:spChg>
        <pc:spChg chg="mod">
          <ac:chgData name="Krishna  Patel" userId="ed2200d0-4eed-40c6-ab36-78bc62005773" providerId="ADAL" clId="{15FA5FE1-2999-4637-A953-C5D2EA03449E}" dt="2025-07-16T10:14:26.776" v="849" actId="14100"/>
          <ac:spMkLst>
            <pc:docMk/>
            <pc:sldMk cId="2083972876" sldId="2147475641"/>
            <ac:spMk id="14" creationId="{94B0DBF6-AC2E-2DEA-D0BD-A56CA810207B}"/>
          </ac:spMkLst>
        </pc:spChg>
        <pc:spChg chg="mod">
          <ac:chgData name="Krishna  Patel" userId="ed2200d0-4eed-40c6-ab36-78bc62005773" providerId="ADAL" clId="{15FA5FE1-2999-4637-A953-C5D2EA03449E}" dt="2025-07-16T10:14:26.776" v="849" actId="14100"/>
          <ac:spMkLst>
            <pc:docMk/>
            <pc:sldMk cId="2083972876" sldId="2147475641"/>
            <ac:spMk id="17" creationId="{5A1410FF-EE2E-9D0A-5B9C-A6ED12080360}"/>
          </ac:spMkLst>
        </pc:spChg>
        <pc:spChg chg="mod">
          <ac:chgData name="Krishna  Patel" userId="ed2200d0-4eed-40c6-ab36-78bc62005773" providerId="ADAL" clId="{15FA5FE1-2999-4637-A953-C5D2EA03449E}" dt="2025-07-16T10:14:26.776" v="849" actId="14100"/>
          <ac:spMkLst>
            <pc:docMk/>
            <pc:sldMk cId="2083972876" sldId="2147475641"/>
            <ac:spMk id="20" creationId="{5FD227DD-8031-61BE-AFAE-42726EC68700}"/>
          </ac:spMkLst>
        </pc:spChg>
      </pc:sldChg>
      <pc:sldChg chg="addSp delSp modSp mod">
        <pc:chgData name="Krishna  Patel" userId="ed2200d0-4eed-40c6-ab36-78bc62005773" providerId="ADAL" clId="{15FA5FE1-2999-4637-A953-C5D2EA03449E}" dt="2025-07-16T04:57:06.897" v="102" actId="207"/>
        <pc:sldMkLst>
          <pc:docMk/>
          <pc:sldMk cId="335322867" sldId="2147475643"/>
        </pc:sldMkLst>
        <pc:spChg chg="add mod">
          <ac:chgData name="Krishna  Patel" userId="ed2200d0-4eed-40c6-ab36-78bc62005773" providerId="ADAL" clId="{15FA5FE1-2999-4637-A953-C5D2EA03449E}" dt="2025-07-16T04:57:01.871" v="100" actId="207"/>
          <ac:spMkLst>
            <pc:docMk/>
            <pc:sldMk cId="335322867" sldId="2147475643"/>
            <ac:spMk id="37" creationId="{746BE297-0218-0486-110F-9EA44CEC95CE}"/>
          </ac:spMkLst>
        </pc:spChg>
        <pc:spChg chg="add mod">
          <ac:chgData name="Krishna  Patel" userId="ed2200d0-4eed-40c6-ab36-78bc62005773" providerId="ADAL" clId="{15FA5FE1-2999-4637-A953-C5D2EA03449E}" dt="2025-07-16T04:57:06.897" v="102" actId="207"/>
          <ac:spMkLst>
            <pc:docMk/>
            <pc:sldMk cId="335322867" sldId="2147475643"/>
            <ac:spMk id="38" creationId="{5314AEC2-1F9D-186A-90EB-F394E5D66C46}"/>
          </ac:spMkLst>
        </pc:spChg>
        <pc:spChg chg="add mod">
          <ac:chgData name="Krishna  Patel" userId="ed2200d0-4eed-40c6-ab36-78bc62005773" providerId="ADAL" clId="{15FA5FE1-2999-4637-A953-C5D2EA03449E}" dt="2025-07-16T04:56:53.031" v="97" actId="207"/>
          <ac:spMkLst>
            <pc:docMk/>
            <pc:sldMk cId="335322867" sldId="2147475643"/>
            <ac:spMk id="39" creationId="{F089C997-ECE1-0248-AD39-378534643D55}"/>
          </ac:spMkLst>
        </pc:spChg>
        <pc:spChg chg="add mod">
          <ac:chgData name="Krishna  Patel" userId="ed2200d0-4eed-40c6-ab36-78bc62005773" providerId="ADAL" clId="{15FA5FE1-2999-4637-A953-C5D2EA03449E}" dt="2025-07-16T04:56:58.107" v="99" actId="207"/>
          <ac:spMkLst>
            <pc:docMk/>
            <pc:sldMk cId="335322867" sldId="2147475643"/>
            <ac:spMk id="40" creationId="{E1FF7CE1-7532-2D8D-1D1F-2168A665A279}"/>
          </ac:spMkLst>
        </pc:spChg>
        <pc:spChg chg="add mod">
          <ac:chgData name="Krishna  Patel" userId="ed2200d0-4eed-40c6-ab36-78bc62005773" providerId="ADAL" clId="{15FA5FE1-2999-4637-A953-C5D2EA03449E}" dt="2025-07-16T04:54:58.739" v="81"/>
          <ac:spMkLst>
            <pc:docMk/>
            <pc:sldMk cId="335322867" sldId="2147475643"/>
            <ac:spMk id="41" creationId="{AF3FCAFA-4460-316B-BEBD-C96EC3463A0D}"/>
          </ac:spMkLst>
        </pc:spChg>
        <pc:spChg chg="add mod">
          <ac:chgData name="Krishna  Patel" userId="ed2200d0-4eed-40c6-ab36-78bc62005773" providerId="ADAL" clId="{15FA5FE1-2999-4637-A953-C5D2EA03449E}" dt="2025-07-16T04:54:58.739" v="81"/>
          <ac:spMkLst>
            <pc:docMk/>
            <pc:sldMk cId="335322867" sldId="2147475643"/>
            <ac:spMk id="42" creationId="{15CE39B1-9A5A-AC08-196C-9819B3CE2C37}"/>
          </ac:spMkLst>
        </pc:spChg>
        <pc:spChg chg="add mod">
          <ac:chgData name="Krishna  Patel" userId="ed2200d0-4eed-40c6-ab36-78bc62005773" providerId="ADAL" clId="{15FA5FE1-2999-4637-A953-C5D2EA03449E}" dt="2025-07-16T04:54:58.739" v="81"/>
          <ac:spMkLst>
            <pc:docMk/>
            <pc:sldMk cId="335322867" sldId="2147475643"/>
            <ac:spMk id="43" creationId="{7A3E75E2-5856-23BA-65E6-C141DA96BB1E}"/>
          </ac:spMkLst>
        </pc:spChg>
        <pc:spChg chg="add mod">
          <ac:chgData name="Krishna  Patel" userId="ed2200d0-4eed-40c6-ab36-78bc62005773" providerId="ADAL" clId="{15FA5FE1-2999-4637-A953-C5D2EA03449E}" dt="2025-07-16T04:54:58.739" v="81"/>
          <ac:spMkLst>
            <pc:docMk/>
            <pc:sldMk cId="335322867" sldId="2147475643"/>
            <ac:spMk id="44" creationId="{70F1A2CE-D204-EF6C-C04A-5545F3C93C3F}"/>
          </ac:spMkLst>
        </pc:spChg>
      </pc:sldChg>
      <pc:sldChg chg="addSp delSp modSp mod">
        <pc:chgData name="Krishna  Patel" userId="ed2200d0-4eed-40c6-ab36-78bc62005773" providerId="ADAL" clId="{15FA5FE1-2999-4637-A953-C5D2EA03449E}" dt="2025-07-16T11:21:47.676" v="1026" actId="207"/>
        <pc:sldMkLst>
          <pc:docMk/>
          <pc:sldMk cId="3601332305" sldId="2147475645"/>
        </pc:sldMkLst>
        <pc:spChg chg="mod">
          <ac:chgData name="Krishna  Patel" userId="ed2200d0-4eed-40c6-ab36-78bc62005773" providerId="ADAL" clId="{15FA5FE1-2999-4637-A953-C5D2EA03449E}" dt="2025-07-16T11:21:47.676" v="1026" actId="207"/>
          <ac:spMkLst>
            <pc:docMk/>
            <pc:sldMk cId="3601332305" sldId="2147475645"/>
            <ac:spMk id="4" creationId="{07056BB6-840B-7F72-7A03-8087284B001A}"/>
          </ac:spMkLst>
        </pc:spChg>
        <pc:spChg chg="add mod">
          <ac:chgData name="Krishna  Patel" userId="ed2200d0-4eed-40c6-ab36-78bc62005773" providerId="ADAL" clId="{15FA5FE1-2999-4637-A953-C5D2EA03449E}" dt="2025-07-16T04:57:29.364" v="106" actId="207"/>
          <ac:spMkLst>
            <pc:docMk/>
            <pc:sldMk cId="3601332305" sldId="2147475645"/>
            <ac:spMk id="37" creationId="{0A7530F7-2FF5-F963-82E4-67C471CAA00E}"/>
          </ac:spMkLst>
        </pc:spChg>
        <pc:spChg chg="add mod">
          <ac:chgData name="Krishna  Patel" userId="ed2200d0-4eed-40c6-ab36-78bc62005773" providerId="ADAL" clId="{15FA5FE1-2999-4637-A953-C5D2EA03449E}" dt="2025-07-16T04:57:33.197" v="108" actId="207"/>
          <ac:spMkLst>
            <pc:docMk/>
            <pc:sldMk cId="3601332305" sldId="2147475645"/>
            <ac:spMk id="38" creationId="{0E32B600-1808-C5F8-921D-363C25D195AE}"/>
          </ac:spMkLst>
        </pc:spChg>
        <pc:spChg chg="add mod">
          <ac:chgData name="Krishna  Patel" userId="ed2200d0-4eed-40c6-ab36-78bc62005773" providerId="ADAL" clId="{15FA5FE1-2999-4637-A953-C5D2EA03449E}" dt="2025-07-16T04:55:17.690" v="84"/>
          <ac:spMkLst>
            <pc:docMk/>
            <pc:sldMk cId="3601332305" sldId="2147475645"/>
            <ac:spMk id="39" creationId="{17702211-4FB2-5539-FC74-235F9FEE371B}"/>
          </ac:spMkLst>
        </pc:spChg>
        <pc:spChg chg="add mod">
          <ac:chgData name="Krishna  Patel" userId="ed2200d0-4eed-40c6-ab36-78bc62005773" providerId="ADAL" clId="{15FA5FE1-2999-4637-A953-C5D2EA03449E}" dt="2025-07-16T04:55:17.690" v="84"/>
          <ac:spMkLst>
            <pc:docMk/>
            <pc:sldMk cId="3601332305" sldId="2147475645"/>
            <ac:spMk id="40" creationId="{77CB0CF6-A51A-ACD2-876C-711DD246D574}"/>
          </ac:spMkLst>
        </pc:spChg>
        <pc:spChg chg="add mod">
          <ac:chgData name="Krishna  Patel" userId="ed2200d0-4eed-40c6-ab36-78bc62005773" providerId="ADAL" clId="{15FA5FE1-2999-4637-A953-C5D2EA03449E}" dt="2025-07-16T04:57:20.823" v="103" actId="207"/>
          <ac:spMkLst>
            <pc:docMk/>
            <pc:sldMk cId="3601332305" sldId="2147475645"/>
            <ac:spMk id="41" creationId="{B0A7D178-E61C-86F1-D9B8-D6A2FA18950A}"/>
          </ac:spMkLst>
        </pc:spChg>
        <pc:spChg chg="add mod">
          <ac:chgData name="Krishna  Patel" userId="ed2200d0-4eed-40c6-ab36-78bc62005773" providerId="ADAL" clId="{15FA5FE1-2999-4637-A953-C5D2EA03449E}" dt="2025-07-16T04:57:26.273" v="105" actId="207"/>
          <ac:spMkLst>
            <pc:docMk/>
            <pc:sldMk cId="3601332305" sldId="2147475645"/>
            <ac:spMk id="42" creationId="{B6F94B1B-D22B-10CD-0217-F319985A7F9C}"/>
          </ac:spMkLst>
        </pc:spChg>
        <pc:spChg chg="add mod">
          <ac:chgData name="Krishna  Patel" userId="ed2200d0-4eed-40c6-ab36-78bc62005773" providerId="ADAL" clId="{15FA5FE1-2999-4637-A953-C5D2EA03449E}" dt="2025-07-16T04:55:17.690" v="84"/>
          <ac:spMkLst>
            <pc:docMk/>
            <pc:sldMk cId="3601332305" sldId="2147475645"/>
            <ac:spMk id="43" creationId="{E61E7A4C-9B8E-6A61-733F-12B5CCD68225}"/>
          </ac:spMkLst>
        </pc:spChg>
        <pc:spChg chg="add mod">
          <ac:chgData name="Krishna  Patel" userId="ed2200d0-4eed-40c6-ab36-78bc62005773" providerId="ADAL" clId="{15FA5FE1-2999-4637-A953-C5D2EA03449E}" dt="2025-07-16T04:55:17.690" v="84"/>
          <ac:spMkLst>
            <pc:docMk/>
            <pc:sldMk cId="3601332305" sldId="2147475645"/>
            <ac:spMk id="44" creationId="{82C6A549-75B5-D526-7769-F59984D3DFB2}"/>
          </ac:spMkLst>
        </pc:spChg>
      </pc:sldChg>
      <pc:sldChg chg="addSp delSp modSp mod">
        <pc:chgData name="Krishna  Patel" userId="ed2200d0-4eed-40c6-ab36-78bc62005773" providerId="ADAL" clId="{15FA5FE1-2999-4637-A953-C5D2EA03449E}" dt="2025-07-16T11:23:23.650" v="1056" actId="207"/>
        <pc:sldMkLst>
          <pc:docMk/>
          <pc:sldMk cId="71159453" sldId="2147475646"/>
        </pc:sldMkLst>
        <pc:spChg chg="mod">
          <ac:chgData name="Krishna  Patel" userId="ed2200d0-4eed-40c6-ab36-78bc62005773" providerId="ADAL" clId="{15FA5FE1-2999-4637-A953-C5D2EA03449E}" dt="2025-07-16T11:23:23.650" v="1056" actId="207"/>
          <ac:spMkLst>
            <pc:docMk/>
            <pc:sldMk cId="71159453" sldId="2147475646"/>
            <ac:spMk id="4" creationId="{E6382731-C7DF-2606-6835-AF4AABCF6E9D}"/>
          </ac:spMkLst>
        </pc:spChg>
        <pc:spChg chg="add mod">
          <ac:chgData name="Krishna  Patel" userId="ed2200d0-4eed-40c6-ab36-78bc62005773" providerId="ADAL" clId="{15FA5FE1-2999-4637-A953-C5D2EA03449E}" dt="2025-07-16T04:58:07.949" v="112" actId="207"/>
          <ac:spMkLst>
            <pc:docMk/>
            <pc:sldMk cId="71159453" sldId="2147475646"/>
            <ac:spMk id="47" creationId="{721D27E5-E536-AFC7-0C82-0D0AC4047922}"/>
          </ac:spMkLst>
        </pc:spChg>
        <pc:spChg chg="add mod">
          <ac:chgData name="Krishna  Patel" userId="ed2200d0-4eed-40c6-ab36-78bc62005773" providerId="ADAL" clId="{15FA5FE1-2999-4637-A953-C5D2EA03449E}" dt="2025-07-16T04:58:04.617" v="111" actId="207"/>
          <ac:spMkLst>
            <pc:docMk/>
            <pc:sldMk cId="71159453" sldId="2147475646"/>
            <ac:spMk id="48" creationId="{2CE3C818-7FAE-33B1-E364-1C66514554CA}"/>
          </ac:spMkLst>
        </pc:spChg>
        <pc:spChg chg="add mod">
          <ac:chgData name="Krishna  Patel" userId="ed2200d0-4eed-40c6-ab36-78bc62005773" providerId="ADAL" clId="{15FA5FE1-2999-4637-A953-C5D2EA03449E}" dt="2025-07-16T04:55:33.125" v="89"/>
          <ac:spMkLst>
            <pc:docMk/>
            <pc:sldMk cId="71159453" sldId="2147475646"/>
            <ac:spMk id="49" creationId="{19759BDB-9F46-4E70-266C-1DCA92DB5C10}"/>
          </ac:spMkLst>
        </pc:spChg>
        <pc:spChg chg="add mod">
          <ac:chgData name="Krishna  Patel" userId="ed2200d0-4eed-40c6-ab36-78bc62005773" providerId="ADAL" clId="{15FA5FE1-2999-4637-A953-C5D2EA03449E}" dt="2025-07-16T04:55:33.125" v="89"/>
          <ac:spMkLst>
            <pc:docMk/>
            <pc:sldMk cId="71159453" sldId="2147475646"/>
            <ac:spMk id="50" creationId="{E4E93B02-64DB-7748-F827-D6CCAAD45E02}"/>
          </ac:spMkLst>
        </pc:spChg>
        <pc:spChg chg="add mod">
          <ac:chgData name="Krishna  Patel" userId="ed2200d0-4eed-40c6-ab36-78bc62005773" providerId="ADAL" clId="{15FA5FE1-2999-4637-A953-C5D2EA03449E}" dt="2025-07-16T04:55:33.125" v="89"/>
          <ac:spMkLst>
            <pc:docMk/>
            <pc:sldMk cId="71159453" sldId="2147475646"/>
            <ac:spMk id="51" creationId="{7A4E1880-423E-82DD-402C-46F1517CDD38}"/>
          </ac:spMkLst>
        </pc:spChg>
        <pc:spChg chg="add mod">
          <ac:chgData name="Krishna  Patel" userId="ed2200d0-4eed-40c6-ab36-78bc62005773" providerId="ADAL" clId="{15FA5FE1-2999-4637-A953-C5D2EA03449E}" dt="2025-07-16T04:55:33.125" v="89"/>
          <ac:spMkLst>
            <pc:docMk/>
            <pc:sldMk cId="71159453" sldId="2147475646"/>
            <ac:spMk id="52" creationId="{E90CF2D0-4C18-8E02-648D-B0994A5AC388}"/>
          </ac:spMkLst>
        </pc:spChg>
        <pc:spChg chg="add mod">
          <ac:chgData name="Krishna  Patel" userId="ed2200d0-4eed-40c6-ab36-78bc62005773" providerId="ADAL" clId="{15FA5FE1-2999-4637-A953-C5D2EA03449E}" dt="2025-07-16T04:58:12.597" v="113" actId="207"/>
          <ac:spMkLst>
            <pc:docMk/>
            <pc:sldMk cId="71159453" sldId="2147475646"/>
            <ac:spMk id="53" creationId="{DE832CE7-57F5-33AB-3962-2A5E4CD41F06}"/>
          </ac:spMkLst>
        </pc:spChg>
        <pc:spChg chg="add mod">
          <ac:chgData name="Krishna  Patel" userId="ed2200d0-4eed-40c6-ab36-78bc62005773" providerId="ADAL" clId="{15FA5FE1-2999-4637-A953-C5D2EA03449E}" dt="2025-07-16T04:58:17.557" v="115" actId="207"/>
          <ac:spMkLst>
            <pc:docMk/>
            <pc:sldMk cId="71159453" sldId="2147475646"/>
            <ac:spMk id="54" creationId="{C8E26302-BD9C-D708-BF66-17DE0EABD83E}"/>
          </ac:spMkLst>
        </pc:spChg>
      </pc:sldChg>
      <pc:sldChg chg="addSp delSp modSp mod">
        <pc:chgData name="Krishna  Patel" userId="ed2200d0-4eed-40c6-ab36-78bc62005773" providerId="ADAL" clId="{15FA5FE1-2999-4637-A953-C5D2EA03449E}" dt="2025-07-16T11:21:57.259" v="1029"/>
        <pc:sldMkLst>
          <pc:docMk/>
          <pc:sldMk cId="1336602987" sldId="2147475647"/>
        </pc:sldMkLst>
        <pc:spChg chg="mod">
          <ac:chgData name="Krishna  Patel" userId="ed2200d0-4eed-40c6-ab36-78bc62005773" providerId="ADAL" clId="{15FA5FE1-2999-4637-A953-C5D2EA03449E}" dt="2025-07-16T11:21:57.259" v="1029"/>
          <ac:spMkLst>
            <pc:docMk/>
            <pc:sldMk cId="1336602987" sldId="2147475647"/>
            <ac:spMk id="5" creationId="{E5C4B05E-08E1-8E7D-0342-521333D5AD2A}"/>
          </ac:spMkLst>
        </pc:spChg>
        <pc:graphicFrameChg chg="add mod modGraphic">
          <ac:chgData name="Krishna  Patel" userId="ed2200d0-4eed-40c6-ab36-78bc62005773" providerId="ADAL" clId="{15FA5FE1-2999-4637-A953-C5D2EA03449E}" dt="2025-07-16T05:01:12.146" v="135" actId="1035"/>
          <ac:graphicFrameMkLst>
            <pc:docMk/>
            <pc:sldMk cId="1336602987" sldId="2147475647"/>
            <ac:graphicFrameMk id="2" creationId="{47DF8901-65CF-1C1B-ADCC-EB7FB3A4F837}"/>
          </ac:graphicFrameMkLst>
        </pc:graphicFrameChg>
      </pc:sldChg>
      <pc:sldChg chg="addSp delSp modSp mod">
        <pc:chgData name="Krishna  Patel" userId="ed2200d0-4eed-40c6-ab36-78bc62005773" providerId="ADAL" clId="{15FA5FE1-2999-4637-A953-C5D2EA03449E}" dt="2025-07-16T11:23:32.816" v="1059"/>
        <pc:sldMkLst>
          <pc:docMk/>
          <pc:sldMk cId="2137044402" sldId="2147475648"/>
        </pc:sldMkLst>
        <pc:spChg chg="mod">
          <ac:chgData name="Krishna  Patel" userId="ed2200d0-4eed-40c6-ab36-78bc62005773" providerId="ADAL" clId="{15FA5FE1-2999-4637-A953-C5D2EA03449E}" dt="2025-07-16T11:23:32.816" v="1059"/>
          <ac:spMkLst>
            <pc:docMk/>
            <pc:sldMk cId="2137044402" sldId="2147475648"/>
            <ac:spMk id="5" creationId="{88F80F67-B64C-4419-9BBE-F1E9029D9EFF}"/>
          </ac:spMkLst>
        </pc:spChg>
        <pc:graphicFrameChg chg="add mod modGraphic">
          <ac:chgData name="Krishna  Patel" userId="ed2200d0-4eed-40c6-ab36-78bc62005773" providerId="ADAL" clId="{15FA5FE1-2999-4637-A953-C5D2EA03449E}" dt="2025-07-16T11:12:30.110" v="1023" actId="1036"/>
          <ac:graphicFrameMkLst>
            <pc:docMk/>
            <pc:sldMk cId="2137044402" sldId="2147475648"/>
            <ac:graphicFrameMk id="2" creationId="{1B43F544-896E-0E21-3A41-478BD92D2AD1}"/>
          </ac:graphicFrameMkLst>
        </pc:graphicFrameChg>
      </pc:sldChg>
      <pc:sldChg chg="modSp modAnim">
        <pc:chgData name="Krishna  Patel" userId="ed2200d0-4eed-40c6-ab36-78bc62005773" providerId="ADAL" clId="{15FA5FE1-2999-4637-A953-C5D2EA03449E}" dt="2025-07-16T11:24:55.486" v="1091"/>
        <pc:sldMkLst>
          <pc:docMk/>
          <pc:sldMk cId="2145023399" sldId="2147475649"/>
        </pc:sldMkLst>
        <pc:spChg chg="mod">
          <ac:chgData name="Krishna  Patel" userId="ed2200d0-4eed-40c6-ab36-78bc62005773" providerId="ADAL" clId="{15FA5FE1-2999-4637-A953-C5D2EA03449E}" dt="2025-07-16T11:24:55.486" v="1091"/>
          <ac:spMkLst>
            <pc:docMk/>
            <pc:sldMk cId="2145023399" sldId="2147475649"/>
            <ac:spMk id="7" creationId="{E46F8165-9F8F-40B3-19E5-888DC41D3051}"/>
          </ac:spMkLst>
        </pc:spChg>
      </pc:sldChg>
      <pc:sldChg chg="modSp modAnim">
        <pc:chgData name="Krishna  Patel" userId="ed2200d0-4eed-40c6-ab36-78bc62005773" providerId="ADAL" clId="{15FA5FE1-2999-4637-A953-C5D2EA03449E}" dt="2025-07-16T11:24:52.444" v="1090"/>
        <pc:sldMkLst>
          <pc:docMk/>
          <pc:sldMk cId="2775602384" sldId="2147475650"/>
        </pc:sldMkLst>
        <pc:spChg chg="mod">
          <ac:chgData name="Krishna  Patel" userId="ed2200d0-4eed-40c6-ab36-78bc62005773" providerId="ADAL" clId="{15FA5FE1-2999-4637-A953-C5D2EA03449E}" dt="2025-07-16T11:24:52.444" v="1090"/>
          <ac:spMkLst>
            <pc:docMk/>
            <pc:sldMk cId="2775602384" sldId="2147475650"/>
            <ac:spMk id="4" creationId="{5960D7C0-F1D5-5A5D-7365-79D3CB2C3BEB}"/>
          </ac:spMkLst>
        </pc:spChg>
      </pc:sldChg>
      <pc:sldChg chg="modSp modAnim">
        <pc:chgData name="Krishna  Patel" userId="ed2200d0-4eed-40c6-ab36-78bc62005773" providerId="ADAL" clId="{15FA5FE1-2999-4637-A953-C5D2EA03449E}" dt="2025-07-16T11:50:59.336" v="1270"/>
        <pc:sldMkLst>
          <pc:docMk/>
          <pc:sldMk cId="3903429302" sldId="2147475651"/>
        </pc:sldMkLst>
        <pc:spChg chg="mod">
          <ac:chgData name="Krishna  Patel" userId="ed2200d0-4eed-40c6-ab36-78bc62005773" providerId="ADAL" clId="{15FA5FE1-2999-4637-A953-C5D2EA03449E}" dt="2025-07-16T11:24:50.517" v="1089"/>
          <ac:spMkLst>
            <pc:docMk/>
            <pc:sldMk cId="3903429302" sldId="2147475651"/>
            <ac:spMk id="7" creationId="{F62F897E-A83F-3723-2D02-A7B33C5934E5}"/>
          </ac:spMkLst>
        </pc:spChg>
      </pc:sldChg>
      <pc:sldChg chg="modSp modAnim">
        <pc:chgData name="Krishna  Patel" userId="ed2200d0-4eed-40c6-ab36-78bc62005773" providerId="ADAL" clId="{15FA5FE1-2999-4637-A953-C5D2EA03449E}" dt="2025-07-16T11:50:55.307" v="1268"/>
        <pc:sldMkLst>
          <pc:docMk/>
          <pc:sldMk cId="3316371110" sldId="2147475652"/>
        </pc:sldMkLst>
        <pc:spChg chg="mod">
          <ac:chgData name="Krishna  Patel" userId="ed2200d0-4eed-40c6-ab36-78bc62005773" providerId="ADAL" clId="{15FA5FE1-2999-4637-A953-C5D2EA03449E}" dt="2025-07-16T11:24:48.067" v="1088"/>
          <ac:spMkLst>
            <pc:docMk/>
            <pc:sldMk cId="3316371110" sldId="2147475652"/>
            <ac:spMk id="7" creationId="{4EB55A83-ABB1-08F6-922A-E078FBD39D15}"/>
          </ac:spMkLst>
        </pc:spChg>
      </pc:sldChg>
      <pc:sldChg chg="modSp mod">
        <pc:chgData name="Krishna  Patel" userId="ed2200d0-4eed-40c6-ab36-78bc62005773" providerId="ADAL" clId="{15FA5FE1-2999-4637-A953-C5D2EA03449E}" dt="2025-07-16T11:24:57.869" v="1092"/>
        <pc:sldMkLst>
          <pc:docMk/>
          <pc:sldMk cId="4061387328" sldId="2147475653"/>
        </pc:sldMkLst>
        <pc:spChg chg="mod">
          <ac:chgData name="Krishna  Patel" userId="ed2200d0-4eed-40c6-ab36-78bc62005773" providerId="ADAL" clId="{15FA5FE1-2999-4637-A953-C5D2EA03449E}" dt="2025-07-16T10:15:06.111" v="855" actId="1076"/>
          <ac:spMkLst>
            <pc:docMk/>
            <pc:sldMk cId="4061387328" sldId="2147475653"/>
            <ac:spMk id="4" creationId="{F50E2AB4-3909-5AB6-94AD-F61CC2A2B9E4}"/>
          </ac:spMkLst>
        </pc:spChg>
        <pc:spChg chg="mod">
          <ac:chgData name="Krishna  Patel" userId="ed2200d0-4eed-40c6-ab36-78bc62005773" providerId="ADAL" clId="{15FA5FE1-2999-4637-A953-C5D2EA03449E}" dt="2025-07-16T11:24:57.869" v="1092"/>
          <ac:spMkLst>
            <pc:docMk/>
            <pc:sldMk cId="4061387328" sldId="2147475653"/>
            <ac:spMk id="6" creationId="{D3811A5A-F1D8-AF24-2363-593B54F5CBF4}"/>
          </ac:spMkLst>
        </pc:spChg>
        <pc:picChg chg="mod">
          <ac:chgData name="Krishna  Patel" userId="ed2200d0-4eed-40c6-ab36-78bc62005773" providerId="ADAL" clId="{15FA5FE1-2999-4637-A953-C5D2EA03449E}" dt="2025-07-16T10:15:12.838" v="865" actId="1036"/>
          <ac:picMkLst>
            <pc:docMk/>
            <pc:sldMk cId="4061387328" sldId="2147475653"/>
            <ac:picMk id="9" creationId="{58A44841-5D66-DF62-844B-078563D761AB}"/>
          </ac:picMkLst>
        </pc:picChg>
      </pc:sldChg>
      <pc:sldChg chg="modSp modAnim">
        <pc:chgData name="Krishna  Patel" userId="ed2200d0-4eed-40c6-ab36-78bc62005773" providerId="ADAL" clId="{15FA5FE1-2999-4637-A953-C5D2EA03449E}" dt="2025-07-16T11:44:05.965" v="1145"/>
        <pc:sldMkLst>
          <pc:docMk/>
          <pc:sldMk cId="222545808" sldId="2147475654"/>
        </pc:sldMkLst>
        <pc:spChg chg="mod">
          <ac:chgData name="Krishna  Patel" userId="ed2200d0-4eed-40c6-ab36-78bc62005773" providerId="ADAL" clId="{15FA5FE1-2999-4637-A953-C5D2EA03449E}" dt="2025-07-16T11:22:47.141" v="1047"/>
          <ac:spMkLst>
            <pc:docMk/>
            <pc:sldMk cId="222545808" sldId="2147475654"/>
            <ac:spMk id="7" creationId="{D507D0FC-B13A-80F1-6240-A5B363578245}"/>
          </ac:spMkLst>
        </pc:spChg>
      </pc:sldChg>
      <pc:sldChg chg="modSp modAnim">
        <pc:chgData name="Krishna  Patel" userId="ed2200d0-4eed-40c6-ab36-78bc62005773" providerId="ADAL" clId="{15FA5FE1-2999-4637-A953-C5D2EA03449E}" dt="2025-07-16T11:44:10.372" v="1147"/>
        <pc:sldMkLst>
          <pc:docMk/>
          <pc:sldMk cId="2833335121" sldId="2147475655"/>
        </pc:sldMkLst>
        <pc:spChg chg="mod">
          <ac:chgData name="Krishna  Patel" userId="ed2200d0-4eed-40c6-ab36-78bc62005773" providerId="ADAL" clId="{15FA5FE1-2999-4637-A953-C5D2EA03449E}" dt="2025-07-16T11:22:49.975" v="1048"/>
          <ac:spMkLst>
            <pc:docMk/>
            <pc:sldMk cId="2833335121" sldId="2147475655"/>
            <ac:spMk id="7" creationId="{34128747-0DEF-BC49-9857-10A4A14FCD7E}"/>
          </ac:spMkLst>
        </pc:spChg>
      </pc:sldChg>
      <pc:sldChg chg="modSp modAnim">
        <pc:chgData name="Krishna  Patel" userId="ed2200d0-4eed-40c6-ab36-78bc62005773" providerId="ADAL" clId="{15FA5FE1-2999-4637-A953-C5D2EA03449E}" dt="2025-07-16T11:23:03.184" v="1051"/>
        <pc:sldMkLst>
          <pc:docMk/>
          <pc:sldMk cId="1849314565" sldId="2147475656"/>
        </pc:sldMkLst>
        <pc:spChg chg="mod">
          <ac:chgData name="Krishna  Patel" userId="ed2200d0-4eed-40c6-ab36-78bc62005773" providerId="ADAL" clId="{15FA5FE1-2999-4637-A953-C5D2EA03449E}" dt="2025-07-16T11:22:52.439" v="1049"/>
          <ac:spMkLst>
            <pc:docMk/>
            <pc:sldMk cId="1849314565" sldId="2147475656"/>
            <ac:spMk id="4" creationId="{8F42211A-9A3A-6976-1FAA-D5034D942C64}"/>
          </ac:spMkLst>
        </pc:spChg>
      </pc:sldChg>
      <pc:sldChg chg="modSp modAnim">
        <pc:chgData name="Krishna  Patel" userId="ed2200d0-4eed-40c6-ab36-78bc62005773" providerId="ADAL" clId="{15FA5FE1-2999-4637-A953-C5D2EA03449E}" dt="2025-07-16T11:23:06.365" v="1052"/>
        <pc:sldMkLst>
          <pc:docMk/>
          <pc:sldMk cId="1867186835" sldId="2147475657"/>
        </pc:sldMkLst>
        <pc:spChg chg="mod">
          <ac:chgData name="Krishna  Patel" userId="ed2200d0-4eed-40c6-ab36-78bc62005773" providerId="ADAL" clId="{15FA5FE1-2999-4637-A953-C5D2EA03449E}" dt="2025-07-16T11:22:54.888" v="1050"/>
          <ac:spMkLst>
            <pc:docMk/>
            <pc:sldMk cId="1867186835" sldId="2147475657"/>
            <ac:spMk id="7" creationId="{D122B96F-687D-C3B7-4575-ED621D2EF7CF}"/>
          </ac:spMkLst>
        </pc:spChg>
      </pc:sldChg>
      <pc:sldChg chg="modSp">
        <pc:chgData name="Krishna  Patel" userId="ed2200d0-4eed-40c6-ab36-78bc62005773" providerId="ADAL" clId="{15FA5FE1-2999-4637-A953-C5D2EA03449E}" dt="2025-07-16T11:23:10.204" v="1053"/>
        <pc:sldMkLst>
          <pc:docMk/>
          <pc:sldMk cId="1987777969" sldId="2147475658"/>
        </pc:sldMkLst>
        <pc:spChg chg="mod">
          <ac:chgData name="Krishna  Patel" userId="ed2200d0-4eed-40c6-ab36-78bc62005773" providerId="ADAL" clId="{15FA5FE1-2999-4637-A953-C5D2EA03449E}" dt="2025-07-16T11:23:10.204" v="1053"/>
          <ac:spMkLst>
            <pc:docMk/>
            <pc:sldMk cId="1987777969" sldId="2147475658"/>
            <ac:spMk id="6" creationId="{3B6601C1-C2E7-FB05-33AA-8F35AC3C7F64}"/>
          </ac:spMkLst>
        </pc:spChg>
      </pc:sldChg>
      <pc:sldChg chg="addSp delSp modSp mod">
        <pc:chgData name="Krishna  Patel" userId="ed2200d0-4eed-40c6-ab36-78bc62005773" providerId="ADAL" clId="{15FA5FE1-2999-4637-A953-C5D2EA03449E}" dt="2025-07-16T11:25:15.047" v="1096" actId="207"/>
        <pc:sldMkLst>
          <pc:docMk/>
          <pc:sldMk cId="2955533041" sldId="2147475660"/>
        </pc:sldMkLst>
      </pc:sldChg>
      <pc:sldChg chg="modSp mod">
        <pc:chgData name="Krishna  Patel" userId="ed2200d0-4eed-40c6-ab36-78bc62005773" providerId="ADAL" clId="{15FA5FE1-2999-4637-A953-C5D2EA03449E}" dt="2025-07-16T11:23:30.290" v="1058" actId="207"/>
        <pc:sldMkLst>
          <pc:docMk/>
          <pc:sldMk cId="4239618027" sldId="2147475661"/>
        </pc:sldMkLst>
        <pc:spChg chg="mod">
          <ac:chgData name="Krishna  Patel" userId="ed2200d0-4eed-40c6-ab36-78bc62005773" providerId="ADAL" clId="{15FA5FE1-2999-4637-A953-C5D2EA03449E}" dt="2025-07-16T04:57:51.173" v="109" actId="14100"/>
          <ac:spMkLst>
            <pc:docMk/>
            <pc:sldMk cId="4239618027" sldId="2147475661"/>
            <ac:spMk id="2" creationId="{28D96FA2-C8BE-C27F-CB7A-01AFAEEC80C3}"/>
          </ac:spMkLst>
        </pc:spChg>
        <pc:spChg chg="mod">
          <ac:chgData name="Krishna  Patel" userId="ed2200d0-4eed-40c6-ab36-78bc62005773" providerId="ADAL" clId="{15FA5FE1-2999-4637-A953-C5D2EA03449E}" dt="2025-07-16T11:23:30.290" v="1058" actId="207"/>
          <ac:spMkLst>
            <pc:docMk/>
            <pc:sldMk cId="4239618027" sldId="2147475661"/>
            <ac:spMk id="8" creationId="{C43E2B0E-6E32-1432-8536-92677855726C}"/>
          </ac:spMkLst>
        </pc:spChg>
      </pc:sldChg>
      <pc:sldChg chg="modSp mod">
        <pc:chgData name="Krishna  Patel" userId="ed2200d0-4eed-40c6-ab36-78bc62005773" providerId="ADAL" clId="{15FA5FE1-2999-4637-A953-C5D2EA03449E}" dt="2025-07-16T11:25:20.615" v="1098" actId="207"/>
        <pc:sldMkLst>
          <pc:docMk/>
          <pc:sldMk cId="1354346415" sldId="2147475662"/>
        </pc:sldMkLst>
      </pc:sldChg>
      <pc:sldChg chg="modSp mod">
        <pc:chgData name="Krishna  Patel" userId="ed2200d0-4eed-40c6-ab36-78bc62005773" providerId="ADAL" clId="{15FA5FE1-2999-4637-A953-C5D2EA03449E}" dt="2025-07-16T11:21:53.783" v="1028" actId="207"/>
        <pc:sldMkLst>
          <pc:docMk/>
          <pc:sldMk cId="862083365" sldId="2147475663"/>
        </pc:sldMkLst>
        <pc:spChg chg="mod">
          <ac:chgData name="Krishna  Patel" userId="ed2200d0-4eed-40c6-ab36-78bc62005773" providerId="ADAL" clId="{15FA5FE1-2999-4637-A953-C5D2EA03449E}" dt="2025-07-16T11:21:53.783" v="1028" actId="207"/>
          <ac:spMkLst>
            <pc:docMk/>
            <pc:sldMk cId="862083365" sldId="2147475663"/>
            <ac:spMk id="8" creationId="{FAECCA9A-48A6-819E-B877-B0B47F0DE7AF}"/>
          </ac:spMkLst>
        </pc:spChg>
      </pc:sldChg>
      <pc:sldChg chg="addSp delSp modSp mod">
        <pc:chgData name="Krishna  Patel" userId="ed2200d0-4eed-40c6-ab36-78bc62005773" providerId="ADAL" clId="{15FA5FE1-2999-4637-A953-C5D2EA03449E}" dt="2025-07-16T11:25:04.111" v="1094" actId="113"/>
        <pc:sldMkLst>
          <pc:docMk/>
          <pc:sldMk cId="3784723363" sldId="2147475664"/>
        </pc:sldMkLst>
        <pc:spChg chg="mod">
          <ac:chgData name="Krishna  Patel" userId="ed2200d0-4eed-40c6-ab36-78bc62005773" providerId="ADAL" clId="{15FA5FE1-2999-4637-A953-C5D2EA03449E}" dt="2025-07-16T11:25:04.111" v="1094" actId="113"/>
          <ac:spMkLst>
            <pc:docMk/>
            <pc:sldMk cId="3784723363" sldId="2147475664"/>
            <ac:spMk id="2" creationId="{44EB365C-B960-4D71-3225-DE2EEB6F8334}"/>
          </ac:spMkLst>
        </pc:spChg>
        <pc:spChg chg="mod">
          <ac:chgData name="Krishna  Patel" userId="ed2200d0-4eed-40c6-ab36-78bc62005773" providerId="ADAL" clId="{15FA5FE1-2999-4637-A953-C5D2EA03449E}" dt="2025-07-16T10:51:10.262" v="897" actId="14100"/>
          <ac:spMkLst>
            <pc:docMk/>
            <pc:sldMk cId="3784723363" sldId="2147475664"/>
            <ac:spMk id="3" creationId="{92451217-FC91-164D-D379-54683C379518}"/>
          </ac:spMkLst>
        </pc:spChg>
        <pc:spChg chg="mod">
          <ac:chgData name="Krishna  Patel" userId="ed2200d0-4eed-40c6-ab36-78bc62005773" providerId="ADAL" clId="{15FA5FE1-2999-4637-A953-C5D2EA03449E}" dt="2025-07-16T11:25:00.738" v="1093"/>
          <ac:spMkLst>
            <pc:docMk/>
            <pc:sldMk cId="3784723363" sldId="2147475664"/>
            <ac:spMk id="5" creationId="{6B2A69B2-558E-3A68-8770-2366DCF1D6DE}"/>
          </ac:spMkLst>
        </pc:spChg>
        <pc:picChg chg="add mod modCrop">
          <ac:chgData name="Krishna  Patel" userId="ed2200d0-4eed-40c6-ab36-78bc62005773" providerId="ADAL" clId="{15FA5FE1-2999-4637-A953-C5D2EA03449E}" dt="2025-07-16T11:02:26.200" v="945" actId="14100"/>
          <ac:picMkLst>
            <pc:docMk/>
            <pc:sldMk cId="3784723363" sldId="2147475664"/>
            <ac:picMk id="17" creationId="{26AC14B5-5539-5C6F-0156-BC9EA77E4CA7}"/>
          </ac:picMkLst>
        </pc:picChg>
      </pc:sldChg>
    </pc:docChg>
  </pc:docChgLst>
  <pc:docChgLst>
    <pc:chgData name="Aashish Pandey" userId="S::aashish@bluedataconsulting.in::341f317d-6b43-432f-b17f-fd51a4912ac2" providerId="AD" clId="Web-{2958D91D-1C56-4FD4-BF8F-0B243CAE0B80}"/>
    <pc:docChg chg="addSld modSld">
      <pc:chgData name="Aashish Pandey" userId="S::aashish@bluedataconsulting.in::341f317d-6b43-432f-b17f-fd51a4912ac2" providerId="AD" clId="Web-{2958D91D-1C56-4FD4-BF8F-0B243CAE0B80}" dt="2025-07-16T07:34:17.101" v="12" actId="1076"/>
      <pc:docMkLst>
        <pc:docMk/>
      </pc:docMkLst>
      <pc:sldChg chg="addSp delSp modSp new">
        <pc:chgData name="Aashish Pandey" userId="S::aashish@bluedataconsulting.in::341f317d-6b43-432f-b17f-fd51a4912ac2" providerId="AD" clId="Web-{2958D91D-1C56-4FD4-BF8F-0B243CAE0B80}" dt="2025-07-16T07:34:17.101" v="12" actId="1076"/>
        <pc:sldMkLst>
          <pc:docMk/>
          <pc:sldMk cId="3784723363" sldId="2147475664"/>
        </pc:sldMkLst>
        <pc:spChg chg="mod">
          <ac:chgData name="Aashish Pandey" userId="S::aashish@bluedataconsulting.in::341f317d-6b43-432f-b17f-fd51a4912ac2" providerId="AD" clId="Web-{2958D91D-1C56-4FD4-BF8F-0B243CAE0B80}" dt="2025-07-16T07:30:40.358" v="9" actId="20577"/>
          <ac:spMkLst>
            <pc:docMk/>
            <pc:sldMk cId="3784723363" sldId="2147475664"/>
            <ac:spMk id="2" creationId="{44EB365C-B960-4D71-3225-DE2EEB6F8334}"/>
          </ac:spMkLst>
        </pc:spChg>
        <pc:spChg chg="mod">
          <ac:chgData name="Aashish Pandey" userId="S::aashish@bluedataconsulting.in::341f317d-6b43-432f-b17f-fd51a4912ac2" providerId="AD" clId="Web-{2958D91D-1C56-4FD4-BF8F-0B243CAE0B80}" dt="2025-07-16T07:31:54.986" v="10" actId="20577"/>
          <ac:spMkLst>
            <pc:docMk/>
            <pc:sldMk cId="3784723363" sldId="2147475664"/>
            <ac:spMk id="3" creationId="{92451217-FC91-164D-D379-54683C379518}"/>
          </ac:spMkLst>
        </pc:spChg>
      </pc:sldChg>
    </pc:docChg>
  </pc:docChgLst>
  <pc:docChgLst>
    <pc:chgData name="Anshu Pandey" userId="37883d53-0acc-4b4f-998c-de7c94b25306" providerId="ADAL" clId="{A40612FA-C5FB-4471-BDF1-61AF7364CD4B}"/>
    <pc:docChg chg="modSld">
      <pc:chgData name="Anshu Pandey" userId="37883d53-0acc-4b4f-998c-de7c94b25306" providerId="ADAL" clId="{A40612FA-C5FB-4471-BDF1-61AF7364CD4B}" dt="2025-07-18T18:43:48.460" v="87" actId="404"/>
      <pc:docMkLst>
        <pc:docMk/>
      </pc:docMkLst>
      <pc:sldChg chg="addSp modSp mod">
        <pc:chgData name="Anshu Pandey" userId="37883d53-0acc-4b4f-998c-de7c94b25306" providerId="ADAL" clId="{A40612FA-C5FB-4471-BDF1-61AF7364CD4B}" dt="2025-07-18T18:38:15.972" v="9" actId="14100"/>
        <pc:sldMkLst>
          <pc:docMk/>
          <pc:sldMk cId="1508866936" sldId="2147475571"/>
        </pc:sldMkLst>
        <pc:spChg chg="add mod">
          <ac:chgData name="Anshu Pandey" userId="37883d53-0acc-4b4f-998c-de7c94b25306" providerId="ADAL" clId="{A40612FA-C5FB-4471-BDF1-61AF7364CD4B}" dt="2025-07-18T18:38:15.972" v="9" actId="14100"/>
          <ac:spMkLst>
            <pc:docMk/>
            <pc:sldMk cId="1508866936" sldId="2147475571"/>
            <ac:spMk id="4" creationId="{B20D02A6-F82D-6DBB-48E4-C934B71F7437}"/>
          </ac:spMkLst>
        </pc:spChg>
      </pc:sldChg>
      <pc:sldChg chg="modSp mod">
        <pc:chgData name="Anshu Pandey" userId="37883d53-0acc-4b4f-998c-de7c94b25306" providerId="ADAL" clId="{A40612FA-C5FB-4471-BDF1-61AF7364CD4B}" dt="2025-07-18T18:40:02.160" v="13" actId="113"/>
        <pc:sldMkLst>
          <pc:docMk/>
          <pc:sldMk cId="3164243038" sldId="2147475617"/>
        </pc:sldMkLst>
        <pc:spChg chg="mod">
          <ac:chgData name="Anshu Pandey" userId="37883d53-0acc-4b4f-998c-de7c94b25306" providerId="ADAL" clId="{A40612FA-C5FB-4471-BDF1-61AF7364CD4B}" dt="2025-07-18T18:40:02.160" v="13" actId="113"/>
          <ac:spMkLst>
            <pc:docMk/>
            <pc:sldMk cId="3164243038" sldId="2147475617"/>
            <ac:spMk id="15" creationId="{C5BBA7C4-08B8-1B02-3813-A7B77E6C3A45}"/>
          </ac:spMkLst>
        </pc:spChg>
      </pc:sldChg>
      <pc:sldChg chg="modSp mod">
        <pc:chgData name="Anshu Pandey" userId="37883d53-0acc-4b4f-998c-de7c94b25306" providerId="ADAL" clId="{A40612FA-C5FB-4471-BDF1-61AF7364CD4B}" dt="2025-07-18T18:40:10.534" v="17" actId="113"/>
        <pc:sldMkLst>
          <pc:docMk/>
          <pc:sldMk cId="1903098560" sldId="2147475618"/>
        </pc:sldMkLst>
        <pc:spChg chg="mod">
          <ac:chgData name="Anshu Pandey" userId="37883d53-0acc-4b4f-998c-de7c94b25306" providerId="ADAL" clId="{A40612FA-C5FB-4471-BDF1-61AF7364CD4B}" dt="2025-07-18T18:40:10.534" v="17" actId="113"/>
          <ac:spMkLst>
            <pc:docMk/>
            <pc:sldMk cId="1903098560" sldId="2147475618"/>
            <ac:spMk id="2" creationId="{217CD38D-E132-609E-734C-024A8FF25C34}"/>
          </ac:spMkLst>
        </pc:spChg>
      </pc:sldChg>
      <pc:sldChg chg="modSp mod">
        <pc:chgData name="Anshu Pandey" userId="37883d53-0acc-4b4f-998c-de7c94b25306" providerId="ADAL" clId="{A40612FA-C5FB-4471-BDF1-61AF7364CD4B}" dt="2025-07-18T18:40:22.556" v="23" actId="113"/>
        <pc:sldMkLst>
          <pc:docMk/>
          <pc:sldMk cId="4019409204" sldId="2147475619"/>
        </pc:sldMkLst>
        <pc:spChg chg="mod">
          <ac:chgData name="Anshu Pandey" userId="37883d53-0acc-4b4f-998c-de7c94b25306" providerId="ADAL" clId="{A40612FA-C5FB-4471-BDF1-61AF7364CD4B}" dt="2025-07-18T18:40:22.556" v="23" actId="113"/>
          <ac:spMkLst>
            <pc:docMk/>
            <pc:sldMk cId="4019409204" sldId="2147475619"/>
            <ac:spMk id="2" creationId="{194B9742-D493-29CC-7733-34DB35313F95}"/>
          </ac:spMkLst>
        </pc:spChg>
      </pc:sldChg>
      <pc:sldChg chg="modSp mod">
        <pc:chgData name="Anshu Pandey" userId="37883d53-0acc-4b4f-998c-de7c94b25306" providerId="ADAL" clId="{A40612FA-C5FB-4471-BDF1-61AF7364CD4B}" dt="2025-07-18T18:40:46.055" v="27" actId="404"/>
        <pc:sldMkLst>
          <pc:docMk/>
          <pc:sldMk cId="4003703235" sldId="2147475620"/>
        </pc:sldMkLst>
        <pc:spChg chg="mod">
          <ac:chgData name="Anshu Pandey" userId="37883d53-0acc-4b4f-998c-de7c94b25306" providerId="ADAL" clId="{A40612FA-C5FB-4471-BDF1-61AF7364CD4B}" dt="2025-07-18T18:40:46.055" v="27" actId="404"/>
          <ac:spMkLst>
            <pc:docMk/>
            <pc:sldMk cId="4003703235" sldId="2147475620"/>
            <ac:spMk id="2" creationId="{FE9360B3-8C16-F065-E530-DF7A54C31E93}"/>
          </ac:spMkLst>
        </pc:spChg>
      </pc:sldChg>
      <pc:sldChg chg="modSp mod">
        <pc:chgData name="Anshu Pandey" userId="37883d53-0acc-4b4f-998c-de7c94b25306" providerId="ADAL" clId="{A40612FA-C5FB-4471-BDF1-61AF7364CD4B}" dt="2025-07-18T18:40:53.543" v="31" actId="113"/>
        <pc:sldMkLst>
          <pc:docMk/>
          <pc:sldMk cId="3798911062" sldId="2147475621"/>
        </pc:sldMkLst>
        <pc:spChg chg="mod">
          <ac:chgData name="Anshu Pandey" userId="37883d53-0acc-4b4f-998c-de7c94b25306" providerId="ADAL" clId="{A40612FA-C5FB-4471-BDF1-61AF7364CD4B}" dt="2025-07-18T18:40:53.543" v="31" actId="113"/>
          <ac:spMkLst>
            <pc:docMk/>
            <pc:sldMk cId="3798911062" sldId="2147475621"/>
            <ac:spMk id="2" creationId="{5FD72E95-95A8-BDF7-5227-CD6805D2AF05}"/>
          </ac:spMkLst>
        </pc:spChg>
      </pc:sldChg>
      <pc:sldChg chg="modSp mod">
        <pc:chgData name="Anshu Pandey" userId="37883d53-0acc-4b4f-998c-de7c94b25306" providerId="ADAL" clId="{A40612FA-C5FB-4471-BDF1-61AF7364CD4B}" dt="2025-07-18T18:41:01.366" v="35" actId="404"/>
        <pc:sldMkLst>
          <pc:docMk/>
          <pc:sldMk cId="3742440379" sldId="2147475622"/>
        </pc:sldMkLst>
        <pc:spChg chg="mod">
          <ac:chgData name="Anshu Pandey" userId="37883d53-0acc-4b4f-998c-de7c94b25306" providerId="ADAL" clId="{A40612FA-C5FB-4471-BDF1-61AF7364CD4B}" dt="2025-07-18T18:41:01.366" v="35" actId="404"/>
          <ac:spMkLst>
            <pc:docMk/>
            <pc:sldMk cId="3742440379" sldId="2147475622"/>
            <ac:spMk id="2" creationId="{82FB764E-4B3D-3888-9F8E-CCD1D224F975}"/>
          </ac:spMkLst>
        </pc:spChg>
      </pc:sldChg>
      <pc:sldChg chg="modSp mod">
        <pc:chgData name="Anshu Pandey" userId="37883d53-0acc-4b4f-998c-de7c94b25306" providerId="ADAL" clId="{A40612FA-C5FB-4471-BDF1-61AF7364CD4B}" dt="2025-07-18T18:41:08.431" v="39" actId="113"/>
        <pc:sldMkLst>
          <pc:docMk/>
          <pc:sldMk cId="315205713" sldId="2147475623"/>
        </pc:sldMkLst>
        <pc:spChg chg="mod">
          <ac:chgData name="Anshu Pandey" userId="37883d53-0acc-4b4f-998c-de7c94b25306" providerId="ADAL" clId="{A40612FA-C5FB-4471-BDF1-61AF7364CD4B}" dt="2025-07-18T18:41:08.431" v="39" actId="113"/>
          <ac:spMkLst>
            <pc:docMk/>
            <pc:sldMk cId="315205713" sldId="2147475623"/>
            <ac:spMk id="2" creationId="{09F01AA1-1067-6475-2AB8-A89EBC389DA2}"/>
          </ac:spMkLst>
        </pc:spChg>
      </pc:sldChg>
      <pc:sldChg chg="modSp mod">
        <pc:chgData name="Anshu Pandey" userId="37883d53-0acc-4b4f-998c-de7c94b25306" providerId="ADAL" clId="{A40612FA-C5FB-4471-BDF1-61AF7364CD4B}" dt="2025-07-18T18:41:17.773" v="43" actId="404"/>
        <pc:sldMkLst>
          <pc:docMk/>
          <pc:sldMk cId="1719978085" sldId="2147475624"/>
        </pc:sldMkLst>
        <pc:spChg chg="mod">
          <ac:chgData name="Anshu Pandey" userId="37883d53-0acc-4b4f-998c-de7c94b25306" providerId="ADAL" clId="{A40612FA-C5FB-4471-BDF1-61AF7364CD4B}" dt="2025-07-18T18:41:17.773" v="43" actId="404"/>
          <ac:spMkLst>
            <pc:docMk/>
            <pc:sldMk cId="1719978085" sldId="2147475624"/>
            <ac:spMk id="2" creationId="{C9A125CE-C588-64C2-1C0B-65663830CE85}"/>
          </ac:spMkLst>
        </pc:spChg>
      </pc:sldChg>
      <pc:sldChg chg="modSp mod">
        <pc:chgData name="Anshu Pandey" userId="37883d53-0acc-4b4f-998c-de7c94b25306" providerId="ADAL" clId="{A40612FA-C5FB-4471-BDF1-61AF7364CD4B}" dt="2025-07-18T18:41:27.262" v="47" actId="404"/>
        <pc:sldMkLst>
          <pc:docMk/>
          <pc:sldMk cId="2176518984" sldId="2147475625"/>
        </pc:sldMkLst>
        <pc:spChg chg="mod">
          <ac:chgData name="Anshu Pandey" userId="37883d53-0acc-4b4f-998c-de7c94b25306" providerId="ADAL" clId="{A40612FA-C5FB-4471-BDF1-61AF7364CD4B}" dt="2025-07-18T18:41:27.262" v="47" actId="404"/>
          <ac:spMkLst>
            <pc:docMk/>
            <pc:sldMk cId="2176518984" sldId="2147475625"/>
            <ac:spMk id="2" creationId="{21616A7F-617C-D06D-E7EB-C550AAFE5F84}"/>
          </ac:spMkLst>
        </pc:spChg>
      </pc:sldChg>
      <pc:sldChg chg="modSp mod">
        <pc:chgData name="Anshu Pandey" userId="37883d53-0acc-4b4f-998c-de7c94b25306" providerId="ADAL" clId="{A40612FA-C5FB-4471-BDF1-61AF7364CD4B}" dt="2025-07-18T18:41:58.377" v="51" actId="404"/>
        <pc:sldMkLst>
          <pc:docMk/>
          <pc:sldMk cId="258754120" sldId="2147475626"/>
        </pc:sldMkLst>
        <pc:spChg chg="mod">
          <ac:chgData name="Anshu Pandey" userId="37883d53-0acc-4b4f-998c-de7c94b25306" providerId="ADAL" clId="{A40612FA-C5FB-4471-BDF1-61AF7364CD4B}" dt="2025-07-18T18:41:58.377" v="51" actId="404"/>
          <ac:spMkLst>
            <pc:docMk/>
            <pc:sldMk cId="258754120" sldId="2147475626"/>
            <ac:spMk id="2" creationId="{15F73314-5082-F403-38F1-B877102AC5AD}"/>
          </ac:spMkLst>
        </pc:spChg>
      </pc:sldChg>
      <pc:sldChg chg="modSp mod">
        <pc:chgData name="Anshu Pandey" userId="37883d53-0acc-4b4f-998c-de7c94b25306" providerId="ADAL" clId="{A40612FA-C5FB-4471-BDF1-61AF7364CD4B}" dt="2025-07-18T18:42:11.922" v="55" actId="404"/>
        <pc:sldMkLst>
          <pc:docMk/>
          <pc:sldMk cId="2446588007" sldId="2147475627"/>
        </pc:sldMkLst>
        <pc:spChg chg="mod">
          <ac:chgData name="Anshu Pandey" userId="37883d53-0acc-4b4f-998c-de7c94b25306" providerId="ADAL" clId="{A40612FA-C5FB-4471-BDF1-61AF7364CD4B}" dt="2025-07-18T18:42:11.922" v="55" actId="404"/>
          <ac:spMkLst>
            <pc:docMk/>
            <pc:sldMk cId="2446588007" sldId="2147475627"/>
            <ac:spMk id="2" creationId="{4C97B6F0-48C0-1ACC-BFA9-D0389BC5506E}"/>
          </ac:spMkLst>
        </pc:spChg>
      </pc:sldChg>
      <pc:sldChg chg="modSp mod">
        <pc:chgData name="Anshu Pandey" userId="37883d53-0acc-4b4f-998c-de7c94b25306" providerId="ADAL" clId="{A40612FA-C5FB-4471-BDF1-61AF7364CD4B}" dt="2025-07-18T18:42:22.230" v="59" actId="404"/>
        <pc:sldMkLst>
          <pc:docMk/>
          <pc:sldMk cId="2734229790" sldId="2147475628"/>
        </pc:sldMkLst>
        <pc:spChg chg="mod">
          <ac:chgData name="Anshu Pandey" userId="37883d53-0acc-4b4f-998c-de7c94b25306" providerId="ADAL" clId="{A40612FA-C5FB-4471-BDF1-61AF7364CD4B}" dt="2025-07-18T18:42:22.230" v="59" actId="404"/>
          <ac:spMkLst>
            <pc:docMk/>
            <pc:sldMk cId="2734229790" sldId="2147475628"/>
            <ac:spMk id="2" creationId="{AE26917E-DD10-8947-68F0-10822B905D50}"/>
          </ac:spMkLst>
        </pc:spChg>
      </pc:sldChg>
      <pc:sldChg chg="modSp mod">
        <pc:chgData name="Anshu Pandey" userId="37883d53-0acc-4b4f-998c-de7c94b25306" providerId="ADAL" clId="{A40612FA-C5FB-4471-BDF1-61AF7364CD4B}" dt="2025-07-18T18:42:29.756" v="63" actId="404"/>
        <pc:sldMkLst>
          <pc:docMk/>
          <pc:sldMk cId="4067397847" sldId="2147475629"/>
        </pc:sldMkLst>
        <pc:spChg chg="mod">
          <ac:chgData name="Anshu Pandey" userId="37883d53-0acc-4b4f-998c-de7c94b25306" providerId="ADAL" clId="{A40612FA-C5FB-4471-BDF1-61AF7364CD4B}" dt="2025-07-18T18:42:29.756" v="63" actId="404"/>
          <ac:spMkLst>
            <pc:docMk/>
            <pc:sldMk cId="4067397847" sldId="2147475629"/>
            <ac:spMk id="2" creationId="{868F24DB-1BF3-DE91-A5B5-6124F2EDA887}"/>
          </ac:spMkLst>
        </pc:spChg>
      </pc:sldChg>
      <pc:sldChg chg="modSp mod">
        <pc:chgData name="Anshu Pandey" userId="37883d53-0acc-4b4f-998c-de7c94b25306" providerId="ADAL" clId="{A40612FA-C5FB-4471-BDF1-61AF7364CD4B}" dt="2025-07-18T18:43:07.098" v="67" actId="404"/>
        <pc:sldMkLst>
          <pc:docMk/>
          <pc:sldMk cId="2179393311" sldId="2147475630"/>
        </pc:sldMkLst>
        <pc:spChg chg="mod">
          <ac:chgData name="Anshu Pandey" userId="37883d53-0acc-4b4f-998c-de7c94b25306" providerId="ADAL" clId="{A40612FA-C5FB-4471-BDF1-61AF7364CD4B}" dt="2025-07-18T18:43:07.098" v="67" actId="404"/>
          <ac:spMkLst>
            <pc:docMk/>
            <pc:sldMk cId="2179393311" sldId="2147475630"/>
            <ac:spMk id="2" creationId="{16805668-C2B4-8A17-CD0B-22EC64A67BFE}"/>
          </ac:spMkLst>
        </pc:spChg>
      </pc:sldChg>
      <pc:sldChg chg="modSp mod">
        <pc:chgData name="Anshu Pandey" userId="37883d53-0acc-4b4f-998c-de7c94b25306" providerId="ADAL" clId="{A40612FA-C5FB-4471-BDF1-61AF7364CD4B}" dt="2025-07-18T18:43:17.260" v="71" actId="404"/>
        <pc:sldMkLst>
          <pc:docMk/>
          <pc:sldMk cId="3450008008" sldId="2147475631"/>
        </pc:sldMkLst>
        <pc:spChg chg="mod">
          <ac:chgData name="Anshu Pandey" userId="37883d53-0acc-4b4f-998c-de7c94b25306" providerId="ADAL" clId="{A40612FA-C5FB-4471-BDF1-61AF7364CD4B}" dt="2025-07-18T18:43:17.260" v="71" actId="404"/>
          <ac:spMkLst>
            <pc:docMk/>
            <pc:sldMk cId="3450008008" sldId="2147475631"/>
            <ac:spMk id="2" creationId="{5C08A9EB-7A56-25AB-8AE6-AC9893DBA972}"/>
          </ac:spMkLst>
        </pc:spChg>
      </pc:sldChg>
      <pc:sldChg chg="modSp mod">
        <pc:chgData name="Anshu Pandey" userId="37883d53-0acc-4b4f-998c-de7c94b25306" providerId="ADAL" clId="{A40612FA-C5FB-4471-BDF1-61AF7364CD4B}" dt="2025-07-18T18:43:24.901" v="75" actId="404"/>
        <pc:sldMkLst>
          <pc:docMk/>
          <pc:sldMk cId="2074417893" sldId="2147475632"/>
        </pc:sldMkLst>
        <pc:spChg chg="mod">
          <ac:chgData name="Anshu Pandey" userId="37883d53-0acc-4b4f-998c-de7c94b25306" providerId="ADAL" clId="{A40612FA-C5FB-4471-BDF1-61AF7364CD4B}" dt="2025-07-18T18:43:24.901" v="75" actId="404"/>
          <ac:spMkLst>
            <pc:docMk/>
            <pc:sldMk cId="2074417893" sldId="2147475632"/>
            <ac:spMk id="2" creationId="{558FAC5B-A0F6-290F-61FD-DCFDB562B308}"/>
          </ac:spMkLst>
        </pc:spChg>
      </pc:sldChg>
      <pc:sldChg chg="modSp mod">
        <pc:chgData name="Anshu Pandey" userId="37883d53-0acc-4b4f-998c-de7c94b25306" providerId="ADAL" clId="{A40612FA-C5FB-4471-BDF1-61AF7364CD4B}" dt="2025-07-18T18:43:33.600" v="79" actId="404"/>
        <pc:sldMkLst>
          <pc:docMk/>
          <pc:sldMk cId="357655941" sldId="2147475633"/>
        </pc:sldMkLst>
        <pc:spChg chg="mod">
          <ac:chgData name="Anshu Pandey" userId="37883d53-0acc-4b4f-998c-de7c94b25306" providerId="ADAL" clId="{A40612FA-C5FB-4471-BDF1-61AF7364CD4B}" dt="2025-07-18T18:43:33.600" v="79" actId="404"/>
          <ac:spMkLst>
            <pc:docMk/>
            <pc:sldMk cId="357655941" sldId="2147475633"/>
            <ac:spMk id="2" creationId="{58453E15-3D13-A777-1B50-3272619B61B7}"/>
          </ac:spMkLst>
        </pc:spChg>
      </pc:sldChg>
      <pc:sldChg chg="modSp mod">
        <pc:chgData name="Anshu Pandey" userId="37883d53-0acc-4b4f-998c-de7c94b25306" providerId="ADAL" clId="{A40612FA-C5FB-4471-BDF1-61AF7364CD4B}" dt="2025-07-18T18:43:41.313" v="83" actId="404"/>
        <pc:sldMkLst>
          <pc:docMk/>
          <pc:sldMk cId="551477293" sldId="2147475634"/>
        </pc:sldMkLst>
        <pc:spChg chg="mod">
          <ac:chgData name="Anshu Pandey" userId="37883d53-0acc-4b4f-998c-de7c94b25306" providerId="ADAL" clId="{A40612FA-C5FB-4471-BDF1-61AF7364CD4B}" dt="2025-07-18T18:43:41.313" v="83" actId="404"/>
          <ac:spMkLst>
            <pc:docMk/>
            <pc:sldMk cId="551477293" sldId="2147475634"/>
            <ac:spMk id="2" creationId="{6A6DA7B0-7F66-2934-9B8D-49F5B2084DEF}"/>
          </ac:spMkLst>
        </pc:spChg>
      </pc:sldChg>
      <pc:sldChg chg="modSp mod">
        <pc:chgData name="Anshu Pandey" userId="37883d53-0acc-4b4f-998c-de7c94b25306" providerId="ADAL" clId="{A40612FA-C5FB-4471-BDF1-61AF7364CD4B}" dt="2025-07-18T18:43:48.460" v="87" actId="404"/>
        <pc:sldMkLst>
          <pc:docMk/>
          <pc:sldMk cId="2909890247" sldId="2147475635"/>
        </pc:sldMkLst>
        <pc:spChg chg="mod">
          <ac:chgData name="Anshu Pandey" userId="37883d53-0acc-4b4f-998c-de7c94b25306" providerId="ADAL" clId="{A40612FA-C5FB-4471-BDF1-61AF7364CD4B}" dt="2025-07-18T18:43:48.460" v="87" actId="404"/>
          <ac:spMkLst>
            <pc:docMk/>
            <pc:sldMk cId="2909890247" sldId="2147475635"/>
            <ac:spMk id="2" creationId="{355EC632-FF9B-FE54-E6BC-77F0D5FBE5F2}"/>
          </ac:spMkLst>
        </pc:spChg>
      </pc:sldChg>
    </pc:docChg>
  </pc:docChgLst>
  <pc:docChgLst>
    <pc:chgData name="Krishna  Patel" userId="S::krishna.patel@bluedataconsulting.in::ed2200d0-4eed-40c6-ab36-78bc62005773" providerId="AD" clId="Web-{FE048672-1BFA-41E1-9C65-C2E6DB1F2299}"/>
    <pc:docChg chg="modSld">
      <pc:chgData name="Krishna  Patel" userId="S::krishna.patel@bluedataconsulting.in::ed2200d0-4eed-40c6-ab36-78bc62005773" providerId="AD" clId="Web-{FE048672-1BFA-41E1-9C65-C2E6DB1F2299}" dt="2025-07-14T10:56:07.936" v="36" actId="1076"/>
      <pc:docMkLst>
        <pc:docMk/>
      </pc:docMkLst>
      <pc:sldChg chg="modSp">
        <pc:chgData name="Krishna  Patel" userId="S::krishna.patel@bluedataconsulting.in::ed2200d0-4eed-40c6-ab36-78bc62005773" providerId="AD" clId="Web-{FE048672-1BFA-41E1-9C65-C2E6DB1F2299}" dt="2025-07-14T10:37:47.313" v="2" actId="14100"/>
        <pc:sldMkLst>
          <pc:docMk/>
          <pc:sldMk cId="2277864623" sldId="265"/>
        </pc:sldMkLst>
        <pc:spChg chg="mod">
          <ac:chgData name="Krishna  Patel" userId="S::krishna.patel@bluedataconsulting.in::ed2200d0-4eed-40c6-ab36-78bc62005773" providerId="AD" clId="Web-{FE048672-1BFA-41E1-9C65-C2E6DB1F2299}" dt="2025-07-14T10:37:47.313" v="2" actId="14100"/>
          <ac:spMkLst>
            <pc:docMk/>
            <pc:sldMk cId="2277864623" sldId="265"/>
            <ac:spMk id="2" creationId="{5A02E589-FA90-D477-8A2C-D5F3C940FE4E}"/>
          </ac:spMkLst>
        </pc:spChg>
      </pc:sldChg>
      <pc:sldChg chg="modSp">
        <pc:chgData name="Krishna  Patel" userId="S::krishna.patel@bluedataconsulting.in::ed2200d0-4eed-40c6-ab36-78bc62005773" providerId="AD" clId="Web-{FE048672-1BFA-41E1-9C65-C2E6DB1F2299}" dt="2025-07-14T10:55:30.670" v="34" actId="1076"/>
        <pc:sldMkLst>
          <pc:docMk/>
          <pc:sldMk cId="3065532479" sldId="2147470811"/>
        </pc:sldMkLst>
        <pc:spChg chg="mod">
          <ac:chgData name="Krishna  Patel" userId="S::krishna.patel@bluedataconsulting.in::ed2200d0-4eed-40c6-ab36-78bc62005773" providerId="AD" clId="Web-{FE048672-1BFA-41E1-9C65-C2E6DB1F2299}" dt="2025-07-14T10:55:30.639" v="30" actId="1076"/>
          <ac:spMkLst>
            <pc:docMk/>
            <pc:sldMk cId="3065532479" sldId="2147470811"/>
            <ac:spMk id="2" creationId="{B4B71B4D-F0D8-7932-C2BB-08EDECF07275}"/>
          </ac:spMkLst>
        </pc:spChg>
        <pc:spChg chg="mod">
          <ac:chgData name="Krishna  Patel" userId="S::krishna.patel@bluedataconsulting.in::ed2200d0-4eed-40c6-ab36-78bc62005773" providerId="AD" clId="Web-{FE048672-1BFA-41E1-9C65-C2E6DB1F2299}" dt="2025-07-14T10:55:30.608" v="26" actId="1076"/>
          <ac:spMkLst>
            <pc:docMk/>
            <pc:sldMk cId="3065532479" sldId="2147470811"/>
            <ac:spMk id="6" creationId="{95B28894-C522-8B72-7593-1BD9FC488D79}"/>
          </ac:spMkLst>
        </pc:spChg>
        <pc:spChg chg="mod">
          <ac:chgData name="Krishna  Patel" userId="S::krishna.patel@bluedataconsulting.in::ed2200d0-4eed-40c6-ab36-78bc62005773" providerId="AD" clId="Web-{FE048672-1BFA-41E1-9C65-C2E6DB1F2299}" dt="2025-07-14T10:55:30.608" v="27" actId="1076"/>
          <ac:spMkLst>
            <pc:docMk/>
            <pc:sldMk cId="3065532479" sldId="2147470811"/>
            <ac:spMk id="7" creationId="{8A112D95-B3E8-977B-8EF8-9F4C6BF01840}"/>
          </ac:spMkLst>
        </pc:spChg>
        <pc:spChg chg="mod">
          <ac:chgData name="Krishna  Patel" userId="S::krishna.patel@bluedataconsulting.in::ed2200d0-4eed-40c6-ab36-78bc62005773" providerId="AD" clId="Web-{FE048672-1BFA-41E1-9C65-C2E6DB1F2299}" dt="2025-07-14T10:55:30.639" v="31" actId="1076"/>
          <ac:spMkLst>
            <pc:docMk/>
            <pc:sldMk cId="3065532479" sldId="2147470811"/>
            <ac:spMk id="8" creationId="{CB665AB2-18E7-1992-8B53-19F03165B9B4}"/>
          </ac:spMkLst>
        </pc:spChg>
        <pc:spChg chg="mod">
          <ac:chgData name="Krishna  Patel" userId="S::krishna.patel@bluedataconsulting.in::ed2200d0-4eed-40c6-ab36-78bc62005773" providerId="AD" clId="Web-{FE048672-1BFA-41E1-9C65-C2E6DB1F2299}" dt="2025-07-14T10:55:30.623" v="28" actId="1076"/>
          <ac:spMkLst>
            <pc:docMk/>
            <pc:sldMk cId="3065532479" sldId="2147470811"/>
            <ac:spMk id="9" creationId="{C6DB7191-8E01-0286-5DE3-BB47418E2013}"/>
          </ac:spMkLst>
        </pc:spChg>
        <pc:spChg chg="mod">
          <ac:chgData name="Krishna  Patel" userId="S::krishna.patel@bluedataconsulting.in::ed2200d0-4eed-40c6-ab36-78bc62005773" providerId="AD" clId="Web-{FE048672-1BFA-41E1-9C65-C2E6DB1F2299}" dt="2025-07-14T10:55:30.655" v="32" actId="1076"/>
          <ac:spMkLst>
            <pc:docMk/>
            <pc:sldMk cId="3065532479" sldId="2147470811"/>
            <ac:spMk id="10" creationId="{A41B167D-0103-0E93-5F7C-5928EEA1EF6D}"/>
          </ac:spMkLst>
        </pc:spChg>
        <pc:spChg chg="mod">
          <ac:chgData name="Krishna  Patel" userId="S::krishna.patel@bluedataconsulting.in::ed2200d0-4eed-40c6-ab36-78bc62005773" providerId="AD" clId="Web-{FE048672-1BFA-41E1-9C65-C2E6DB1F2299}" dt="2025-07-14T10:55:30.623" v="29" actId="1076"/>
          <ac:spMkLst>
            <pc:docMk/>
            <pc:sldMk cId="3065532479" sldId="2147470811"/>
            <ac:spMk id="11" creationId="{2097431E-B66F-D447-1BF3-9807D1954348}"/>
          </ac:spMkLst>
        </pc:spChg>
        <pc:spChg chg="mod">
          <ac:chgData name="Krishna  Patel" userId="S::krishna.patel@bluedataconsulting.in::ed2200d0-4eed-40c6-ab36-78bc62005773" providerId="AD" clId="Web-{FE048672-1BFA-41E1-9C65-C2E6DB1F2299}" dt="2025-07-14T10:55:30.655" v="33" actId="1076"/>
          <ac:spMkLst>
            <pc:docMk/>
            <pc:sldMk cId="3065532479" sldId="2147470811"/>
            <ac:spMk id="12" creationId="{AA982988-2FF1-0191-7C37-30F5C3F2AE06}"/>
          </ac:spMkLst>
        </pc:spChg>
        <pc:spChg chg="mod">
          <ac:chgData name="Krishna  Patel" userId="S::krishna.patel@bluedataconsulting.in::ed2200d0-4eed-40c6-ab36-78bc62005773" providerId="AD" clId="Web-{FE048672-1BFA-41E1-9C65-C2E6DB1F2299}" dt="2025-07-14T10:55:30.670" v="34" actId="1076"/>
          <ac:spMkLst>
            <pc:docMk/>
            <pc:sldMk cId="3065532479" sldId="2147470811"/>
            <ac:spMk id="13" creationId="{E3BE6F8C-A7E4-2D66-9623-E6E10890ED3E}"/>
          </ac:spMkLst>
        </pc:spChg>
      </pc:sldChg>
      <pc:sldChg chg="modSp">
        <pc:chgData name="Krishna  Patel" userId="S::krishna.patel@bluedataconsulting.in::ed2200d0-4eed-40c6-ab36-78bc62005773" providerId="AD" clId="Web-{FE048672-1BFA-41E1-9C65-C2E6DB1F2299}" dt="2025-07-14T10:56:07.936" v="36" actId="1076"/>
        <pc:sldMkLst>
          <pc:docMk/>
          <pc:sldMk cId="1508866936" sldId="2147475571"/>
        </pc:sldMkLst>
        <pc:picChg chg="mod">
          <ac:chgData name="Krishna  Patel" userId="S::krishna.patel@bluedataconsulting.in::ed2200d0-4eed-40c6-ab36-78bc62005773" providerId="AD" clId="Web-{FE048672-1BFA-41E1-9C65-C2E6DB1F2299}" dt="2025-07-14T10:56:07.936" v="36" actId="1076"/>
          <ac:picMkLst>
            <pc:docMk/>
            <pc:sldMk cId="1508866936" sldId="2147475571"/>
            <ac:picMk id="11" creationId="{2359FB41-2F24-0AD8-EDDF-3801161B91B1}"/>
          </ac:picMkLst>
        </pc:picChg>
      </pc:sldChg>
    </pc:docChg>
  </pc:docChgLst>
  <pc:docChgLst>
    <pc:chgData name="Mitesh Bhaskar" userId="ca2e8610-5576-4b26-a6ed-a895aad45e14" providerId="ADAL" clId="{7C7D988B-DAF7-45DD-A0D9-578A7BFB5E13}"/>
    <pc:docChg chg="modSld">
      <pc:chgData name="Mitesh Bhaskar" userId="ca2e8610-5576-4b26-a6ed-a895aad45e14" providerId="ADAL" clId="{7C7D988B-DAF7-45DD-A0D9-578A7BFB5E13}" dt="2025-07-18T11:49:03.037" v="26" actId="1076"/>
      <pc:docMkLst>
        <pc:docMk/>
      </pc:docMkLst>
      <pc:sldChg chg="addSp modSp mod">
        <pc:chgData name="Mitesh Bhaskar" userId="ca2e8610-5576-4b26-a6ed-a895aad45e14" providerId="ADAL" clId="{7C7D988B-DAF7-45DD-A0D9-578A7BFB5E13}" dt="2025-07-18T11:49:03.037" v="26" actId="1076"/>
        <pc:sldMkLst>
          <pc:docMk/>
          <pc:sldMk cId="3779621820" sldId="2147475576"/>
        </pc:sldMkLst>
        <pc:spChg chg="add mod">
          <ac:chgData name="Mitesh Bhaskar" userId="ca2e8610-5576-4b26-a6ed-a895aad45e14" providerId="ADAL" clId="{7C7D988B-DAF7-45DD-A0D9-578A7BFB5E13}" dt="2025-07-18T11:49:03.037" v="26" actId="1076"/>
          <ac:spMkLst>
            <pc:docMk/>
            <pc:sldMk cId="3779621820" sldId="2147475576"/>
            <ac:spMk id="7" creationId="{479D1F2D-ADD7-1A5D-D46F-E29816A4D916}"/>
          </ac:spMkLst>
        </pc:spChg>
      </pc:sldChg>
    </pc:docChg>
  </pc:docChgLst>
  <pc:docChgLst>
    <pc:chgData name="Taksh Beladiya" userId="a5d5befd-6df2-498b-8ff4-17d31d8a5256" providerId="ADAL" clId="{05497AD0-70E3-4237-921F-8BEF686F0747}"/>
    <pc:docChg chg="modSld">
      <pc:chgData name="Taksh Beladiya" userId="a5d5befd-6df2-498b-8ff4-17d31d8a5256" providerId="ADAL" clId="{05497AD0-70E3-4237-921F-8BEF686F0747}" dt="2025-07-16T11:38:08.556" v="47"/>
      <pc:docMkLst>
        <pc:docMk/>
      </pc:docMkLst>
      <pc:sldChg chg="setBg">
        <pc:chgData name="Taksh Beladiya" userId="a5d5befd-6df2-498b-8ff4-17d31d8a5256" providerId="ADAL" clId="{05497AD0-70E3-4237-921F-8BEF686F0747}" dt="2025-07-16T11:37:27.290" v="35"/>
        <pc:sldMkLst>
          <pc:docMk/>
          <pc:sldMk cId="2277864623" sldId="265"/>
        </pc:sldMkLst>
      </pc:sldChg>
      <pc:sldChg chg="setBg">
        <pc:chgData name="Taksh Beladiya" userId="a5d5befd-6df2-498b-8ff4-17d31d8a5256" providerId="ADAL" clId="{05497AD0-70E3-4237-921F-8BEF686F0747}" dt="2025-07-16T11:37:41.139" v="38"/>
        <pc:sldMkLst>
          <pc:docMk/>
          <pc:sldMk cId="94697914" sldId="2147470690"/>
        </pc:sldMkLst>
      </pc:sldChg>
      <pc:sldChg chg="setBg">
        <pc:chgData name="Taksh Beladiya" userId="a5d5befd-6df2-498b-8ff4-17d31d8a5256" providerId="ADAL" clId="{05497AD0-70E3-4237-921F-8BEF686F0747}" dt="2025-07-16T11:37:55.691" v="44"/>
        <pc:sldMkLst>
          <pc:docMk/>
          <pc:sldMk cId="4239618027" sldId="2147475661"/>
        </pc:sldMkLst>
      </pc:sldChg>
      <pc:sldChg chg="setBg">
        <pc:chgData name="Taksh Beladiya" userId="a5d5befd-6df2-498b-8ff4-17d31d8a5256" providerId="ADAL" clId="{05497AD0-70E3-4237-921F-8BEF686F0747}" dt="2025-07-16T11:38:08.556" v="47"/>
        <pc:sldMkLst>
          <pc:docMk/>
          <pc:sldMk cId="1354346415" sldId="2147475662"/>
        </pc:sldMkLst>
      </pc:sldChg>
      <pc:sldChg chg="setBg">
        <pc:chgData name="Taksh Beladiya" userId="a5d5befd-6df2-498b-8ff4-17d31d8a5256" providerId="ADAL" clId="{05497AD0-70E3-4237-921F-8BEF686F0747}" dt="2025-07-16T11:37:48.626" v="41"/>
        <pc:sldMkLst>
          <pc:docMk/>
          <pc:sldMk cId="862083365" sldId="2147475663"/>
        </pc:sldMkLst>
      </pc:sldChg>
    </pc:docChg>
  </pc:docChgLst>
  <pc:docChgLst>
    <pc:chgData name="Krishna  Patel" userId="ed2200d0-4eed-40c6-ab36-78bc62005773" providerId="ADAL" clId="{3F3D50BC-FABB-49F1-9EA1-A42C0824C70C}"/>
    <pc:docChg chg="undo custSel addSld delSld modSld sldOrd modMainMaster">
      <pc:chgData name="Krishna  Patel" userId="ed2200d0-4eed-40c6-ab36-78bc62005773" providerId="ADAL" clId="{3F3D50BC-FABB-49F1-9EA1-A42C0824C70C}" dt="2025-07-14T10:47:35.567" v="1532"/>
      <pc:docMkLst>
        <pc:docMk/>
      </pc:docMkLst>
      <pc:sldChg chg="del">
        <pc:chgData name="Krishna  Patel" userId="ed2200d0-4eed-40c6-ab36-78bc62005773" providerId="ADAL" clId="{3F3D50BC-FABB-49F1-9EA1-A42C0824C70C}" dt="2025-07-14T10:13:24.950" v="1330" actId="47"/>
        <pc:sldMkLst>
          <pc:docMk/>
          <pc:sldMk cId="0" sldId="256"/>
        </pc:sldMkLst>
      </pc:sldChg>
      <pc:sldChg chg="addSp delSp modSp mod delAnim modAnim">
        <pc:chgData name="Krishna  Patel" userId="ed2200d0-4eed-40c6-ab36-78bc62005773" providerId="ADAL" clId="{3F3D50BC-FABB-49F1-9EA1-A42C0824C70C}" dt="2025-07-14T10:35:15.743" v="1476"/>
        <pc:sldMkLst>
          <pc:docMk/>
          <pc:sldMk cId="0" sldId="258"/>
        </pc:sldMkLst>
        <pc:spChg chg="add mod ord">
          <ac:chgData name="Krishna  Patel" userId="ed2200d0-4eed-40c6-ab36-78bc62005773" providerId="ADAL" clId="{3F3D50BC-FABB-49F1-9EA1-A42C0824C70C}" dt="2025-07-14T09:50:01.985" v="1139" actId="164"/>
          <ac:spMkLst>
            <pc:docMk/>
            <pc:sldMk cId="0" sldId="258"/>
            <ac:spMk id="2" creationId="{97626652-6F56-FC6F-A900-2D9D67CAF698}"/>
          </ac:spMkLst>
        </pc:spChg>
        <pc:spChg chg="add mod ord topLvl">
          <ac:chgData name="Krishna  Patel" userId="ed2200d0-4eed-40c6-ab36-78bc62005773" providerId="ADAL" clId="{3F3D50BC-FABB-49F1-9EA1-A42C0824C70C}" dt="2025-07-14T09:50:09.022" v="1140" actId="164"/>
          <ac:spMkLst>
            <pc:docMk/>
            <pc:sldMk cId="0" sldId="258"/>
            <ac:spMk id="3" creationId="{C5106DAB-6ECF-8D77-D5A5-23D466CD0A61}"/>
          </ac:spMkLst>
        </pc:spChg>
        <pc:spChg chg="mod">
          <ac:chgData name="Krishna  Patel" userId="ed2200d0-4eed-40c6-ab36-78bc62005773" providerId="ADAL" clId="{3F3D50BC-FABB-49F1-9EA1-A42C0824C70C}" dt="2025-07-14T07:41:10.577" v="78" actId="12"/>
          <ac:spMkLst>
            <pc:docMk/>
            <pc:sldMk cId="0" sldId="258"/>
            <ac:spMk id="4" creationId="{00000000-0000-0000-0000-000000000000}"/>
          </ac:spMkLst>
        </pc:spChg>
        <pc:spChg chg="mod">
          <ac:chgData name="Krishna  Patel" userId="ed2200d0-4eed-40c6-ab36-78bc62005773" providerId="ADAL" clId="{3F3D50BC-FABB-49F1-9EA1-A42C0824C70C}" dt="2025-07-14T07:43:51.848" v="142" actId="1036"/>
          <ac:spMkLst>
            <pc:docMk/>
            <pc:sldMk cId="0" sldId="258"/>
            <ac:spMk id="5" creationId="{00000000-0000-0000-0000-000000000000}"/>
          </ac:spMkLst>
        </pc:spChg>
        <pc:spChg chg="mod">
          <ac:chgData name="Krishna  Patel" userId="ed2200d0-4eed-40c6-ab36-78bc62005773" providerId="ADAL" clId="{3F3D50BC-FABB-49F1-9EA1-A42C0824C70C}" dt="2025-07-14T09:50:01.985" v="1139" actId="164"/>
          <ac:spMkLst>
            <pc:docMk/>
            <pc:sldMk cId="0" sldId="258"/>
            <ac:spMk id="6" creationId="{00000000-0000-0000-0000-000000000000}"/>
          </ac:spMkLst>
        </pc:spChg>
        <pc:spChg chg="mod topLvl">
          <ac:chgData name="Krishna  Patel" userId="ed2200d0-4eed-40c6-ab36-78bc62005773" providerId="ADAL" clId="{3F3D50BC-FABB-49F1-9EA1-A42C0824C70C}" dt="2025-07-14T09:50:01.985" v="1139" actId="164"/>
          <ac:spMkLst>
            <pc:docMk/>
            <pc:sldMk cId="0" sldId="258"/>
            <ac:spMk id="7" creationId="{00000000-0000-0000-0000-000000000000}"/>
          </ac:spMkLst>
        </pc:spChg>
        <pc:spChg chg="mod">
          <ac:chgData name="Krishna  Patel" userId="ed2200d0-4eed-40c6-ab36-78bc62005773" providerId="ADAL" clId="{3F3D50BC-FABB-49F1-9EA1-A42C0824C70C}" dt="2025-07-14T09:50:01.985" v="1139" actId="164"/>
          <ac:spMkLst>
            <pc:docMk/>
            <pc:sldMk cId="0" sldId="258"/>
            <ac:spMk id="9" creationId="{00000000-0000-0000-0000-000000000000}"/>
          </ac:spMkLst>
        </pc:spChg>
        <pc:spChg chg="mod topLvl">
          <ac:chgData name="Krishna  Patel" userId="ed2200d0-4eed-40c6-ab36-78bc62005773" providerId="ADAL" clId="{3F3D50BC-FABB-49F1-9EA1-A42C0824C70C}" dt="2025-07-14T09:50:01.985" v="1139" actId="164"/>
          <ac:spMkLst>
            <pc:docMk/>
            <pc:sldMk cId="0" sldId="258"/>
            <ac:spMk id="10" creationId="{00000000-0000-0000-0000-000000000000}"/>
          </ac:spMkLst>
        </pc:spChg>
        <pc:spChg chg="mod topLvl">
          <ac:chgData name="Krishna  Patel" userId="ed2200d0-4eed-40c6-ab36-78bc62005773" providerId="ADAL" clId="{3F3D50BC-FABB-49F1-9EA1-A42C0824C70C}" dt="2025-07-14T09:50:09.022" v="1140" actId="164"/>
          <ac:spMkLst>
            <pc:docMk/>
            <pc:sldMk cId="0" sldId="258"/>
            <ac:spMk id="12" creationId="{00000000-0000-0000-0000-000000000000}"/>
          </ac:spMkLst>
        </pc:spChg>
        <pc:spChg chg="mod topLvl">
          <ac:chgData name="Krishna  Patel" userId="ed2200d0-4eed-40c6-ab36-78bc62005773" providerId="ADAL" clId="{3F3D50BC-FABB-49F1-9EA1-A42C0824C70C}" dt="2025-07-14T09:50:09.022" v="1140" actId="164"/>
          <ac:spMkLst>
            <pc:docMk/>
            <pc:sldMk cId="0" sldId="258"/>
            <ac:spMk id="13" creationId="{00000000-0000-0000-0000-000000000000}"/>
          </ac:spMkLst>
        </pc:spChg>
        <pc:spChg chg="mod topLvl">
          <ac:chgData name="Krishna  Patel" userId="ed2200d0-4eed-40c6-ab36-78bc62005773" providerId="ADAL" clId="{3F3D50BC-FABB-49F1-9EA1-A42C0824C70C}" dt="2025-07-14T09:50:09.022" v="1140" actId="164"/>
          <ac:spMkLst>
            <pc:docMk/>
            <pc:sldMk cId="0" sldId="258"/>
            <ac:spMk id="15" creationId="{00000000-0000-0000-0000-000000000000}"/>
          </ac:spMkLst>
        </pc:spChg>
        <pc:spChg chg="mod">
          <ac:chgData name="Krishna  Patel" userId="ed2200d0-4eed-40c6-ab36-78bc62005773" providerId="ADAL" clId="{3F3D50BC-FABB-49F1-9EA1-A42C0824C70C}" dt="2025-07-14T09:50:09.022" v="1140" actId="164"/>
          <ac:spMkLst>
            <pc:docMk/>
            <pc:sldMk cId="0" sldId="258"/>
            <ac:spMk id="16" creationId="{00000000-0000-0000-0000-000000000000}"/>
          </ac:spMkLst>
        </pc:spChg>
        <pc:spChg chg="mod topLvl">
          <ac:chgData name="Krishna  Patel" userId="ed2200d0-4eed-40c6-ab36-78bc62005773" providerId="ADAL" clId="{3F3D50BC-FABB-49F1-9EA1-A42C0824C70C}" dt="2025-07-14T09:50:13.834" v="1141" actId="164"/>
          <ac:spMkLst>
            <pc:docMk/>
            <pc:sldMk cId="0" sldId="258"/>
            <ac:spMk id="18" creationId="{00000000-0000-0000-0000-000000000000}"/>
          </ac:spMkLst>
        </pc:spChg>
        <pc:spChg chg="mod">
          <ac:chgData name="Krishna  Patel" userId="ed2200d0-4eed-40c6-ab36-78bc62005773" providerId="ADAL" clId="{3F3D50BC-FABB-49F1-9EA1-A42C0824C70C}" dt="2025-07-14T09:50:13.834" v="1141" actId="164"/>
          <ac:spMkLst>
            <pc:docMk/>
            <pc:sldMk cId="0" sldId="258"/>
            <ac:spMk id="19" creationId="{00000000-0000-0000-0000-000000000000}"/>
          </ac:spMkLst>
        </pc:spChg>
        <pc:spChg chg="mod topLvl">
          <ac:chgData name="Krishna  Patel" userId="ed2200d0-4eed-40c6-ab36-78bc62005773" providerId="ADAL" clId="{3F3D50BC-FABB-49F1-9EA1-A42C0824C70C}" dt="2025-07-14T09:50:13.834" v="1141" actId="164"/>
          <ac:spMkLst>
            <pc:docMk/>
            <pc:sldMk cId="0" sldId="258"/>
            <ac:spMk id="21" creationId="{00000000-0000-0000-0000-000000000000}"/>
          </ac:spMkLst>
        </pc:spChg>
        <pc:spChg chg="mod">
          <ac:chgData name="Krishna  Patel" userId="ed2200d0-4eed-40c6-ab36-78bc62005773" providerId="ADAL" clId="{3F3D50BC-FABB-49F1-9EA1-A42C0824C70C}" dt="2025-07-14T09:50:13.834" v="1141" actId="164"/>
          <ac:spMkLst>
            <pc:docMk/>
            <pc:sldMk cId="0" sldId="258"/>
            <ac:spMk id="22" creationId="{00000000-0000-0000-0000-000000000000}"/>
          </ac:spMkLst>
        </pc:spChg>
        <pc:spChg chg="mod">
          <ac:chgData name="Krishna  Patel" userId="ed2200d0-4eed-40c6-ab36-78bc62005773" providerId="ADAL" clId="{3F3D50BC-FABB-49F1-9EA1-A42C0824C70C}" dt="2025-07-14T09:50:16.323" v="1142" actId="164"/>
          <ac:spMkLst>
            <pc:docMk/>
            <pc:sldMk cId="0" sldId="258"/>
            <ac:spMk id="24" creationId="{00000000-0000-0000-0000-000000000000}"/>
          </ac:spMkLst>
        </pc:spChg>
        <pc:spChg chg="mod">
          <ac:chgData name="Krishna  Patel" userId="ed2200d0-4eed-40c6-ab36-78bc62005773" providerId="ADAL" clId="{3F3D50BC-FABB-49F1-9EA1-A42C0824C70C}" dt="2025-07-14T09:50:16.323" v="1142" actId="164"/>
          <ac:spMkLst>
            <pc:docMk/>
            <pc:sldMk cId="0" sldId="258"/>
            <ac:spMk id="25" creationId="{00000000-0000-0000-0000-000000000000}"/>
          </ac:spMkLst>
        </pc:spChg>
        <pc:spChg chg="mod topLvl">
          <ac:chgData name="Krishna  Patel" userId="ed2200d0-4eed-40c6-ab36-78bc62005773" providerId="ADAL" clId="{3F3D50BC-FABB-49F1-9EA1-A42C0824C70C}" dt="2025-07-14T09:50:16.323" v="1142" actId="164"/>
          <ac:spMkLst>
            <pc:docMk/>
            <pc:sldMk cId="0" sldId="258"/>
            <ac:spMk id="27" creationId="{00000000-0000-0000-0000-000000000000}"/>
          </ac:spMkLst>
        </pc:spChg>
        <pc:spChg chg="mod">
          <ac:chgData name="Krishna  Patel" userId="ed2200d0-4eed-40c6-ab36-78bc62005773" providerId="ADAL" clId="{3F3D50BC-FABB-49F1-9EA1-A42C0824C70C}" dt="2025-07-14T09:50:16.323" v="1142" actId="164"/>
          <ac:spMkLst>
            <pc:docMk/>
            <pc:sldMk cId="0" sldId="258"/>
            <ac:spMk id="28" creationId="{00000000-0000-0000-0000-000000000000}"/>
          </ac:spMkLst>
        </pc:spChg>
        <pc:spChg chg="add mod ord topLvl">
          <ac:chgData name="Krishna  Patel" userId="ed2200d0-4eed-40c6-ab36-78bc62005773" providerId="ADAL" clId="{3F3D50BC-FABB-49F1-9EA1-A42C0824C70C}" dt="2025-07-14T09:50:13.834" v="1141" actId="164"/>
          <ac:spMkLst>
            <pc:docMk/>
            <pc:sldMk cId="0" sldId="258"/>
            <ac:spMk id="29" creationId="{3243380C-C0DB-0B18-C1AC-3F494CF57B29}"/>
          </ac:spMkLst>
        </pc:spChg>
        <pc:spChg chg="add mod ord">
          <ac:chgData name="Krishna  Patel" userId="ed2200d0-4eed-40c6-ab36-78bc62005773" providerId="ADAL" clId="{3F3D50BC-FABB-49F1-9EA1-A42C0824C70C}" dt="2025-07-14T09:50:16.323" v="1142" actId="164"/>
          <ac:spMkLst>
            <pc:docMk/>
            <pc:sldMk cId="0" sldId="258"/>
            <ac:spMk id="30" creationId="{E0F4B5A6-1ABC-CC60-4822-E76D38F20E83}"/>
          </ac:spMkLst>
        </pc:spChg>
        <pc:spChg chg="mod">
          <ac:chgData name="Krishna  Patel" userId="ed2200d0-4eed-40c6-ab36-78bc62005773" providerId="ADAL" clId="{3F3D50BC-FABB-49F1-9EA1-A42C0824C70C}" dt="2025-07-14T07:35:33.967" v="64" actId="2711"/>
          <ac:spMkLst>
            <pc:docMk/>
            <pc:sldMk cId="0" sldId="258"/>
            <ac:spMk id="31" creationId="{5B88F9C3-4F88-577F-4046-6A2415295282}"/>
          </ac:spMkLst>
        </pc:spChg>
        <pc:spChg chg="add mod">
          <ac:chgData name="Krishna  Patel" userId="ed2200d0-4eed-40c6-ab36-78bc62005773" providerId="ADAL" clId="{3F3D50BC-FABB-49F1-9EA1-A42C0824C70C}" dt="2025-07-14T10:15:21.288" v="1344"/>
          <ac:spMkLst>
            <pc:docMk/>
            <pc:sldMk cId="0" sldId="258"/>
            <ac:spMk id="40" creationId="{84A55F8E-5913-947B-E94F-D8100B5E4ACD}"/>
          </ac:spMkLst>
        </pc:spChg>
        <pc:spChg chg="add mod">
          <ac:chgData name="Krishna  Patel" userId="ed2200d0-4eed-40c6-ab36-78bc62005773" providerId="ADAL" clId="{3F3D50BC-FABB-49F1-9EA1-A42C0824C70C}" dt="2025-07-14T10:15:21.288" v="1344"/>
          <ac:spMkLst>
            <pc:docMk/>
            <pc:sldMk cId="0" sldId="258"/>
            <ac:spMk id="41" creationId="{B80901B5-FA48-3763-00BA-D90677FDBCC2}"/>
          </ac:spMkLst>
        </pc:spChg>
        <pc:spChg chg="add mod">
          <ac:chgData name="Krishna  Patel" userId="ed2200d0-4eed-40c6-ab36-78bc62005773" providerId="ADAL" clId="{3F3D50BC-FABB-49F1-9EA1-A42C0824C70C}" dt="2025-07-14T10:15:21.288" v="1344"/>
          <ac:spMkLst>
            <pc:docMk/>
            <pc:sldMk cId="0" sldId="258"/>
            <ac:spMk id="42" creationId="{DDD60470-883E-0F49-006E-3966D2549F5F}"/>
          </ac:spMkLst>
        </pc:spChg>
        <pc:grpChg chg="add mod">
          <ac:chgData name="Krishna  Patel" userId="ed2200d0-4eed-40c6-ab36-78bc62005773" providerId="ADAL" clId="{3F3D50BC-FABB-49F1-9EA1-A42C0824C70C}" dt="2025-07-14T09:50:01.985" v="1139" actId="164"/>
          <ac:grpSpMkLst>
            <pc:docMk/>
            <pc:sldMk cId="0" sldId="258"/>
            <ac:grpSpMk id="36" creationId="{929BDC0E-6982-48AF-014D-D6A55E3A6761}"/>
          </ac:grpSpMkLst>
        </pc:grpChg>
        <pc:grpChg chg="add mod">
          <ac:chgData name="Krishna  Patel" userId="ed2200d0-4eed-40c6-ab36-78bc62005773" providerId="ADAL" clId="{3F3D50BC-FABB-49F1-9EA1-A42C0824C70C}" dt="2025-07-14T09:50:09.022" v="1140" actId="164"/>
          <ac:grpSpMkLst>
            <pc:docMk/>
            <pc:sldMk cId="0" sldId="258"/>
            <ac:grpSpMk id="37" creationId="{9239B109-FC94-80F4-512C-26C4ED183A06}"/>
          </ac:grpSpMkLst>
        </pc:grpChg>
        <pc:grpChg chg="add mod">
          <ac:chgData name="Krishna  Patel" userId="ed2200d0-4eed-40c6-ab36-78bc62005773" providerId="ADAL" clId="{3F3D50BC-FABB-49F1-9EA1-A42C0824C70C}" dt="2025-07-14T09:50:13.834" v="1141" actId="164"/>
          <ac:grpSpMkLst>
            <pc:docMk/>
            <pc:sldMk cId="0" sldId="258"/>
            <ac:grpSpMk id="38" creationId="{AEF9F381-7123-B96E-2A8F-A772D352E8CD}"/>
          </ac:grpSpMkLst>
        </pc:grpChg>
        <pc:grpChg chg="add mod">
          <ac:chgData name="Krishna  Patel" userId="ed2200d0-4eed-40c6-ab36-78bc62005773" providerId="ADAL" clId="{3F3D50BC-FABB-49F1-9EA1-A42C0824C70C}" dt="2025-07-14T09:50:16.323" v="1142" actId="164"/>
          <ac:grpSpMkLst>
            <pc:docMk/>
            <pc:sldMk cId="0" sldId="258"/>
            <ac:grpSpMk id="39" creationId="{05D010B6-14FA-B32C-1774-639D8D614D8F}"/>
          </ac:grpSpMkLst>
        </pc:grpChg>
        <pc:picChg chg="mod">
          <ac:chgData name="Krishna  Patel" userId="ed2200d0-4eed-40c6-ab36-78bc62005773" providerId="ADAL" clId="{3F3D50BC-FABB-49F1-9EA1-A42C0824C70C}" dt="2025-07-14T09:50:01.985" v="1139" actId="164"/>
          <ac:picMkLst>
            <pc:docMk/>
            <pc:sldMk cId="0" sldId="258"/>
            <ac:picMk id="8" creationId="{00000000-0000-0000-0000-000000000000}"/>
          </ac:picMkLst>
        </pc:picChg>
        <pc:picChg chg="mod">
          <ac:chgData name="Krishna  Patel" userId="ed2200d0-4eed-40c6-ab36-78bc62005773" providerId="ADAL" clId="{3F3D50BC-FABB-49F1-9EA1-A42C0824C70C}" dt="2025-07-14T09:50:09.022" v="1140" actId="164"/>
          <ac:picMkLst>
            <pc:docMk/>
            <pc:sldMk cId="0" sldId="258"/>
            <ac:picMk id="14" creationId="{00000000-0000-0000-0000-000000000000}"/>
          </ac:picMkLst>
        </pc:picChg>
        <pc:picChg chg="mod">
          <ac:chgData name="Krishna  Patel" userId="ed2200d0-4eed-40c6-ab36-78bc62005773" providerId="ADAL" clId="{3F3D50BC-FABB-49F1-9EA1-A42C0824C70C}" dt="2025-07-14T09:50:13.834" v="1141" actId="164"/>
          <ac:picMkLst>
            <pc:docMk/>
            <pc:sldMk cId="0" sldId="258"/>
            <ac:picMk id="20" creationId="{00000000-0000-0000-0000-000000000000}"/>
          </ac:picMkLst>
        </pc:picChg>
        <pc:picChg chg="mod">
          <ac:chgData name="Krishna  Patel" userId="ed2200d0-4eed-40c6-ab36-78bc62005773" providerId="ADAL" clId="{3F3D50BC-FABB-49F1-9EA1-A42C0824C70C}" dt="2025-07-14T09:50:16.323" v="1142" actId="164"/>
          <ac:picMkLst>
            <pc:docMk/>
            <pc:sldMk cId="0" sldId="258"/>
            <ac:picMk id="26" creationId="{00000000-0000-0000-0000-000000000000}"/>
          </ac:picMkLst>
        </pc:picChg>
        <pc:cxnChg chg="add mod">
          <ac:chgData name="Krishna  Patel" userId="ed2200d0-4eed-40c6-ab36-78bc62005773" providerId="ADAL" clId="{3F3D50BC-FABB-49F1-9EA1-A42C0824C70C}" dt="2025-07-14T10:34:43.680" v="1466" actId="14100"/>
          <ac:cxnSpMkLst>
            <pc:docMk/>
            <pc:sldMk cId="0" sldId="258"/>
            <ac:cxnSpMk id="43" creationId="{694906B8-B38E-7A67-B83E-2CEE2F9725CC}"/>
          </ac:cxnSpMkLst>
        </pc:cxnChg>
        <pc:cxnChg chg="add mod">
          <ac:chgData name="Krishna  Patel" userId="ed2200d0-4eed-40c6-ab36-78bc62005773" providerId="ADAL" clId="{3F3D50BC-FABB-49F1-9EA1-A42C0824C70C}" dt="2025-07-14T10:34:48.685" v="1469" actId="14100"/>
          <ac:cxnSpMkLst>
            <pc:docMk/>
            <pc:sldMk cId="0" sldId="258"/>
            <ac:cxnSpMk id="46" creationId="{44F8EC91-A35F-0316-D9DE-23A055E2E78F}"/>
          </ac:cxnSpMkLst>
        </pc:cxnChg>
        <pc:cxnChg chg="add mod">
          <ac:chgData name="Krishna  Patel" userId="ed2200d0-4eed-40c6-ab36-78bc62005773" providerId="ADAL" clId="{3F3D50BC-FABB-49F1-9EA1-A42C0824C70C}" dt="2025-07-14T10:34:55.299" v="1472" actId="14100"/>
          <ac:cxnSpMkLst>
            <pc:docMk/>
            <pc:sldMk cId="0" sldId="258"/>
            <ac:cxnSpMk id="49" creationId="{ED3112B0-5502-2EB1-8E71-17B420EEE718}"/>
          </ac:cxnSpMkLst>
        </pc:cxnChg>
      </pc:sldChg>
      <pc:sldChg chg="addSp modSp del">
        <pc:chgData name="Krishna  Patel" userId="ed2200d0-4eed-40c6-ab36-78bc62005773" providerId="ADAL" clId="{3F3D50BC-FABB-49F1-9EA1-A42C0824C70C}" dt="2025-07-14T08:39:29.486" v="440" actId="47"/>
        <pc:sldMkLst>
          <pc:docMk/>
          <pc:sldMk cId="0" sldId="260"/>
        </pc:sldMkLst>
      </pc:sldChg>
      <pc:sldChg chg="addSp modSp mod">
        <pc:chgData name="Krishna  Patel" userId="ed2200d0-4eed-40c6-ab36-78bc62005773" providerId="ADAL" clId="{3F3D50BC-FABB-49F1-9EA1-A42C0824C70C}" dt="2025-07-14T10:14:55.409" v="1337" actId="113"/>
        <pc:sldMkLst>
          <pc:docMk/>
          <pc:sldMk cId="2277864623" sldId="265"/>
        </pc:sldMkLst>
        <pc:spChg chg="mod">
          <ac:chgData name="Krishna  Patel" userId="ed2200d0-4eed-40c6-ab36-78bc62005773" providerId="ADAL" clId="{3F3D50BC-FABB-49F1-9EA1-A42C0824C70C}" dt="2025-07-14T07:32:53.485" v="10" actId="113"/>
          <ac:spMkLst>
            <pc:docMk/>
            <pc:sldMk cId="2277864623" sldId="265"/>
            <ac:spMk id="4" creationId="{10DE1205-E472-7207-FEAE-E7B3F0B3708B}"/>
          </ac:spMkLst>
        </pc:spChg>
        <pc:spChg chg="add mod">
          <ac:chgData name="Krishna  Patel" userId="ed2200d0-4eed-40c6-ab36-78bc62005773" providerId="ADAL" clId="{3F3D50BC-FABB-49F1-9EA1-A42C0824C70C}" dt="2025-07-14T10:14:48.538" v="1335" actId="207"/>
          <ac:spMkLst>
            <pc:docMk/>
            <pc:sldMk cId="2277864623" sldId="265"/>
            <ac:spMk id="9" creationId="{902D99A5-8F10-5B36-E2C5-C0432494AA28}"/>
          </ac:spMkLst>
        </pc:spChg>
        <pc:spChg chg="add mod">
          <ac:chgData name="Krishna  Patel" userId="ed2200d0-4eed-40c6-ab36-78bc62005773" providerId="ADAL" clId="{3F3D50BC-FABB-49F1-9EA1-A42C0824C70C}" dt="2025-07-14T10:14:55.409" v="1337" actId="113"/>
          <ac:spMkLst>
            <pc:docMk/>
            <pc:sldMk cId="2277864623" sldId="265"/>
            <ac:spMk id="12" creationId="{D15002B1-4250-7FCD-FC42-8562F4FD6D09}"/>
          </ac:spMkLst>
        </pc:spChg>
        <pc:spChg chg="add mod">
          <ac:chgData name="Krishna  Patel" userId="ed2200d0-4eed-40c6-ab36-78bc62005773" providerId="ADAL" clId="{3F3D50BC-FABB-49F1-9EA1-A42C0824C70C}" dt="2025-07-14T10:14:55.409" v="1337" actId="113"/>
          <ac:spMkLst>
            <pc:docMk/>
            <pc:sldMk cId="2277864623" sldId="265"/>
            <ac:spMk id="13" creationId="{6C3B1F2D-0F09-8B48-8E57-BC62965B0783}"/>
          </ac:spMkLst>
        </pc:spChg>
      </pc:sldChg>
      <pc:sldChg chg="del">
        <pc:chgData name="Krishna  Patel" userId="ed2200d0-4eed-40c6-ab36-78bc62005773" providerId="ADAL" clId="{3F3D50BC-FABB-49F1-9EA1-A42C0824C70C}" dt="2025-07-14T09:15:11.787" v="1011" actId="47"/>
        <pc:sldMkLst>
          <pc:docMk/>
          <pc:sldMk cId="0" sldId="266"/>
        </pc:sldMkLst>
      </pc:sldChg>
      <pc:sldChg chg="addSp delSp modSp mod">
        <pc:chgData name="Krishna  Patel" userId="ed2200d0-4eed-40c6-ab36-78bc62005773" providerId="ADAL" clId="{3F3D50BC-FABB-49F1-9EA1-A42C0824C70C}" dt="2025-07-14T10:18:32.389" v="1376"/>
        <pc:sldMkLst>
          <pc:docMk/>
          <pc:sldMk cId="2537788676" sldId="2147470512"/>
        </pc:sldMkLst>
        <pc:spChg chg="add mod">
          <ac:chgData name="Krishna  Patel" userId="ed2200d0-4eed-40c6-ab36-78bc62005773" providerId="ADAL" clId="{3F3D50BC-FABB-49F1-9EA1-A42C0824C70C}" dt="2025-07-14T10:18:32.389" v="1376"/>
          <ac:spMkLst>
            <pc:docMk/>
            <pc:sldMk cId="2537788676" sldId="2147470512"/>
            <ac:spMk id="7" creationId="{8959CE71-02C0-D77D-C288-F5DD8A187EB5}"/>
          </ac:spMkLst>
        </pc:spChg>
        <pc:spChg chg="add mod">
          <ac:chgData name="Krishna  Patel" userId="ed2200d0-4eed-40c6-ab36-78bc62005773" providerId="ADAL" clId="{3F3D50BC-FABB-49F1-9EA1-A42C0824C70C}" dt="2025-07-14T10:18:32.389" v="1376"/>
          <ac:spMkLst>
            <pc:docMk/>
            <pc:sldMk cId="2537788676" sldId="2147470512"/>
            <ac:spMk id="8" creationId="{115760D4-E5EC-64E4-6834-2EA5836198CA}"/>
          </ac:spMkLst>
        </pc:spChg>
        <pc:spChg chg="add mod">
          <ac:chgData name="Krishna  Patel" userId="ed2200d0-4eed-40c6-ab36-78bc62005773" providerId="ADAL" clId="{3F3D50BC-FABB-49F1-9EA1-A42C0824C70C}" dt="2025-07-14T10:18:32.389" v="1376"/>
          <ac:spMkLst>
            <pc:docMk/>
            <pc:sldMk cId="2537788676" sldId="2147470512"/>
            <ac:spMk id="9" creationId="{0126C89B-8C53-9F43-AAD0-F5136FFF3D63}"/>
          </ac:spMkLst>
        </pc:spChg>
        <pc:picChg chg="mod">
          <ac:chgData name="Krishna  Patel" userId="ed2200d0-4eed-40c6-ab36-78bc62005773" providerId="ADAL" clId="{3F3D50BC-FABB-49F1-9EA1-A42C0824C70C}" dt="2025-07-14T08:57:57.883" v="741" actId="1076"/>
          <ac:picMkLst>
            <pc:docMk/>
            <pc:sldMk cId="2537788676" sldId="2147470512"/>
            <ac:picMk id="16" creationId="{244553BF-2B18-EF51-9302-9D7B4C597D0B}"/>
          </ac:picMkLst>
        </pc:picChg>
      </pc:sldChg>
      <pc:sldChg chg="modSp mod">
        <pc:chgData name="Krishna  Patel" userId="ed2200d0-4eed-40c6-ab36-78bc62005773" providerId="ADAL" clId="{3F3D50BC-FABB-49F1-9EA1-A42C0824C70C}" dt="2025-07-14T10:19:02.128" v="1380" actId="207"/>
        <pc:sldMkLst>
          <pc:docMk/>
          <pc:sldMk cId="94697914" sldId="2147470690"/>
        </pc:sldMkLst>
        <pc:spChg chg="mod">
          <ac:chgData name="Krishna  Patel" userId="ed2200d0-4eed-40c6-ab36-78bc62005773" providerId="ADAL" clId="{3F3D50BC-FABB-49F1-9EA1-A42C0824C70C}" dt="2025-07-14T10:19:02.128" v="1380" actId="207"/>
          <ac:spMkLst>
            <pc:docMk/>
            <pc:sldMk cId="94697914" sldId="2147470690"/>
            <ac:spMk id="8" creationId="{49969A6E-73CC-465F-9247-28165AE43A8A}"/>
          </ac:spMkLst>
        </pc:spChg>
      </pc:sldChg>
      <pc:sldChg chg="modSp mod">
        <pc:chgData name="Krishna  Patel" userId="ed2200d0-4eed-40c6-ab36-78bc62005773" providerId="ADAL" clId="{3F3D50BC-FABB-49F1-9EA1-A42C0824C70C}" dt="2025-07-14T10:32:20.586" v="1462"/>
        <pc:sldMkLst>
          <pc:docMk/>
          <pc:sldMk cId="2117587729" sldId="2147470799"/>
        </pc:sldMkLst>
        <pc:spChg chg="mod">
          <ac:chgData name="Krishna  Patel" userId="ed2200d0-4eed-40c6-ab36-78bc62005773" providerId="ADAL" clId="{3F3D50BC-FABB-49F1-9EA1-A42C0824C70C}" dt="2025-07-14T10:32:20.586" v="1462"/>
          <ac:spMkLst>
            <pc:docMk/>
            <pc:sldMk cId="2117587729" sldId="2147470799"/>
            <ac:spMk id="4" creationId="{9FEE8FD2-F054-64ED-77D9-54DEEAF5A438}"/>
          </ac:spMkLst>
        </pc:spChg>
        <pc:spChg chg="mod">
          <ac:chgData name="Krishna  Patel" userId="ed2200d0-4eed-40c6-ab36-78bc62005773" providerId="ADAL" clId="{3F3D50BC-FABB-49F1-9EA1-A42C0824C70C}" dt="2025-07-14T07:31:57.165" v="9" actId="1036"/>
          <ac:spMkLst>
            <pc:docMk/>
            <pc:sldMk cId="2117587729" sldId="2147470799"/>
            <ac:spMk id="23" creationId="{51AC55D1-1B73-C7BE-743A-FA26A5BC9607}"/>
          </ac:spMkLst>
        </pc:spChg>
        <pc:spChg chg="mod">
          <ac:chgData name="Krishna  Patel" userId="ed2200d0-4eed-40c6-ab36-78bc62005773" providerId="ADAL" clId="{3F3D50BC-FABB-49F1-9EA1-A42C0824C70C}" dt="2025-07-14T07:31:57.165" v="9" actId="1036"/>
          <ac:spMkLst>
            <pc:docMk/>
            <pc:sldMk cId="2117587729" sldId="2147470799"/>
            <ac:spMk id="24" creationId="{E0921634-962A-89EC-4AEE-FE11875BF8F4}"/>
          </ac:spMkLst>
        </pc:spChg>
        <pc:spChg chg="mod">
          <ac:chgData name="Krishna  Patel" userId="ed2200d0-4eed-40c6-ab36-78bc62005773" providerId="ADAL" clId="{3F3D50BC-FABB-49F1-9EA1-A42C0824C70C}" dt="2025-07-14T07:31:57.165" v="9" actId="1036"/>
          <ac:spMkLst>
            <pc:docMk/>
            <pc:sldMk cId="2117587729" sldId="2147470799"/>
            <ac:spMk id="25" creationId="{0EC72F25-CCEA-35CB-2E66-3D371F9ACA94}"/>
          </ac:spMkLst>
        </pc:spChg>
        <pc:spChg chg="mod">
          <ac:chgData name="Krishna  Patel" userId="ed2200d0-4eed-40c6-ab36-78bc62005773" providerId="ADAL" clId="{3F3D50BC-FABB-49F1-9EA1-A42C0824C70C}" dt="2025-07-14T07:31:57.165" v="9" actId="1036"/>
          <ac:spMkLst>
            <pc:docMk/>
            <pc:sldMk cId="2117587729" sldId="2147470799"/>
            <ac:spMk id="26" creationId="{CE6C12A3-997A-2A23-DA8D-4F69B3ED3729}"/>
          </ac:spMkLst>
        </pc:spChg>
      </pc:sldChg>
      <pc:sldChg chg="addSp delSp modSp mod modAnim">
        <pc:chgData name="Krishna  Patel" userId="ed2200d0-4eed-40c6-ab36-78bc62005773" providerId="ADAL" clId="{3F3D50BC-FABB-49F1-9EA1-A42C0824C70C}" dt="2025-07-14T10:15:15.779" v="1343"/>
        <pc:sldMkLst>
          <pc:docMk/>
          <pc:sldMk cId="800513612" sldId="2147470800"/>
        </pc:sldMkLst>
        <pc:spChg chg="add mod">
          <ac:chgData name="Krishna  Patel" userId="ed2200d0-4eed-40c6-ab36-78bc62005773" providerId="ADAL" clId="{3F3D50BC-FABB-49F1-9EA1-A42C0824C70C}" dt="2025-07-14T10:15:15.779" v="1343"/>
          <ac:spMkLst>
            <pc:docMk/>
            <pc:sldMk cId="800513612" sldId="2147470800"/>
            <ac:spMk id="2" creationId="{3E0D19A5-8861-6432-0DE9-28E52299C24B}"/>
          </ac:spMkLst>
        </pc:spChg>
        <pc:spChg chg="add mod">
          <ac:chgData name="Krishna  Patel" userId="ed2200d0-4eed-40c6-ab36-78bc62005773" providerId="ADAL" clId="{3F3D50BC-FABB-49F1-9EA1-A42C0824C70C}" dt="2025-07-14T10:15:15.779" v="1343"/>
          <ac:spMkLst>
            <pc:docMk/>
            <pc:sldMk cId="800513612" sldId="2147470800"/>
            <ac:spMk id="3" creationId="{018C45CD-435D-E421-0C13-356B4131DA09}"/>
          </ac:spMkLst>
        </pc:spChg>
        <pc:spChg chg="add mod">
          <ac:chgData name="Krishna  Patel" userId="ed2200d0-4eed-40c6-ab36-78bc62005773" providerId="ADAL" clId="{3F3D50BC-FABB-49F1-9EA1-A42C0824C70C}" dt="2025-07-14T10:15:15.779" v="1343"/>
          <ac:spMkLst>
            <pc:docMk/>
            <pc:sldMk cId="800513612" sldId="2147470800"/>
            <ac:spMk id="4" creationId="{EE69C148-4370-0592-C146-12D1280BB089}"/>
          </ac:spMkLst>
        </pc:spChg>
        <pc:spChg chg="mod">
          <ac:chgData name="Krishna  Patel" userId="ed2200d0-4eed-40c6-ab36-78bc62005773" providerId="ADAL" clId="{3F3D50BC-FABB-49F1-9EA1-A42C0824C70C}" dt="2025-07-14T07:34:24.901" v="53" actId="1035"/>
          <ac:spMkLst>
            <pc:docMk/>
            <pc:sldMk cId="800513612" sldId="2147470800"/>
            <ac:spMk id="13" creationId="{F2F93294-64F8-066A-C794-64A3C2135BCD}"/>
          </ac:spMkLst>
        </pc:spChg>
        <pc:spChg chg="mod">
          <ac:chgData name="Krishna  Patel" userId="ed2200d0-4eed-40c6-ab36-78bc62005773" providerId="ADAL" clId="{3F3D50BC-FABB-49F1-9EA1-A42C0824C70C}" dt="2025-07-14T07:34:40.637" v="61" actId="14100"/>
          <ac:spMkLst>
            <pc:docMk/>
            <pc:sldMk cId="800513612" sldId="2147470800"/>
            <ac:spMk id="16" creationId="{77915285-BF5E-7AA9-1C4C-6B53DB2D1E7F}"/>
          </ac:spMkLst>
        </pc:spChg>
        <pc:picChg chg="mod">
          <ac:chgData name="Krishna  Patel" userId="ed2200d0-4eed-40c6-ab36-78bc62005773" providerId="ADAL" clId="{3F3D50BC-FABB-49F1-9EA1-A42C0824C70C}" dt="2025-07-14T09:59:17.873" v="1186" actId="1076"/>
          <ac:picMkLst>
            <pc:docMk/>
            <pc:sldMk cId="800513612" sldId="2147470800"/>
            <ac:picMk id="15" creationId="{8648AFCF-2394-F8F5-617F-784209A9448B}"/>
          </ac:picMkLst>
        </pc:picChg>
      </pc:sldChg>
      <pc:sldChg chg="addSp delSp modSp mod modAnim">
        <pc:chgData name="Krishna  Patel" userId="ed2200d0-4eed-40c6-ab36-78bc62005773" providerId="ADAL" clId="{3F3D50BC-FABB-49F1-9EA1-A42C0824C70C}" dt="2025-07-14T10:18:04.088" v="1366"/>
        <pc:sldMkLst>
          <pc:docMk/>
          <pc:sldMk cId="3714255659" sldId="2147470802"/>
        </pc:sldMkLst>
        <pc:spChg chg="mod">
          <ac:chgData name="Krishna  Patel" userId="ed2200d0-4eed-40c6-ab36-78bc62005773" providerId="ADAL" clId="{3F3D50BC-FABB-49F1-9EA1-A42C0824C70C}" dt="2025-07-14T08:56:16.778" v="704" actId="1076"/>
          <ac:spMkLst>
            <pc:docMk/>
            <pc:sldMk cId="3714255659" sldId="2147470802"/>
            <ac:spMk id="3" creationId="{C16ABB67-9F27-8AF5-C84D-FBF2BEDD8A21}"/>
          </ac:spMkLst>
        </pc:spChg>
        <pc:spChg chg="add mod">
          <ac:chgData name="Krishna  Patel" userId="ed2200d0-4eed-40c6-ab36-78bc62005773" providerId="ADAL" clId="{3F3D50BC-FABB-49F1-9EA1-A42C0824C70C}" dt="2025-07-14T10:18:04.088" v="1366"/>
          <ac:spMkLst>
            <pc:docMk/>
            <pc:sldMk cId="3714255659" sldId="2147470802"/>
            <ac:spMk id="7" creationId="{F040730B-1386-F859-A06E-50665BA9B8C0}"/>
          </ac:spMkLst>
        </pc:spChg>
        <pc:spChg chg="add mod">
          <ac:chgData name="Krishna  Patel" userId="ed2200d0-4eed-40c6-ab36-78bc62005773" providerId="ADAL" clId="{3F3D50BC-FABB-49F1-9EA1-A42C0824C70C}" dt="2025-07-14T10:18:04.088" v="1366"/>
          <ac:spMkLst>
            <pc:docMk/>
            <pc:sldMk cId="3714255659" sldId="2147470802"/>
            <ac:spMk id="9" creationId="{62F10DED-8A51-B70F-9DA4-185E5184859D}"/>
          </ac:spMkLst>
        </pc:spChg>
        <pc:spChg chg="add mod">
          <ac:chgData name="Krishna  Patel" userId="ed2200d0-4eed-40c6-ab36-78bc62005773" providerId="ADAL" clId="{3F3D50BC-FABB-49F1-9EA1-A42C0824C70C}" dt="2025-07-14T10:18:04.088" v="1366"/>
          <ac:spMkLst>
            <pc:docMk/>
            <pc:sldMk cId="3714255659" sldId="2147470802"/>
            <ac:spMk id="10" creationId="{A07A647D-E7D5-6245-7DCF-CB003D37E535}"/>
          </ac:spMkLst>
        </pc:spChg>
        <pc:picChg chg="mod">
          <ac:chgData name="Krishna  Patel" userId="ed2200d0-4eed-40c6-ab36-78bc62005773" providerId="ADAL" clId="{3F3D50BC-FABB-49F1-9EA1-A42C0824C70C}" dt="2025-07-14T10:07:48.247" v="1270" actId="1076"/>
          <ac:picMkLst>
            <pc:docMk/>
            <pc:sldMk cId="3714255659" sldId="2147470802"/>
            <ac:picMk id="8" creationId="{BB94FCC3-1891-C25D-2560-8FE292AA3244}"/>
          </ac:picMkLst>
        </pc:picChg>
      </pc:sldChg>
      <pc:sldChg chg="addSp delSp modSp mod modAnim">
        <pc:chgData name="Krishna  Patel" userId="ed2200d0-4eed-40c6-ab36-78bc62005773" providerId="ADAL" clId="{3F3D50BC-FABB-49F1-9EA1-A42C0824C70C}" dt="2025-07-14T10:17:54.954" v="1362"/>
        <pc:sldMkLst>
          <pc:docMk/>
          <pc:sldMk cId="1705682879" sldId="2147470803"/>
        </pc:sldMkLst>
        <pc:spChg chg="add mod">
          <ac:chgData name="Krishna  Patel" userId="ed2200d0-4eed-40c6-ab36-78bc62005773" providerId="ADAL" clId="{3F3D50BC-FABB-49F1-9EA1-A42C0824C70C}" dt="2025-07-14T10:17:54.954" v="1362"/>
          <ac:spMkLst>
            <pc:docMk/>
            <pc:sldMk cId="1705682879" sldId="2147470803"/>
            <ac:spMk id="7" creationId="{F3406949-0A9C-A03B-D44B-587066BB3E06}"/>
          </ac:spMkLst>
        </pc:spChg>
        <pc:spChg chg="mod">
          <ac:chgData name="Krishna  Patel" userId="ed2200d0-4eed-40c6-ab36-78bc62005773" providerId="ADAL" clId="{3F3D50BC-FABB-49F1-9EA1-A42C0824C70C}" dt="2025-07-14T08:55:24.264" v="695" actId="2711"/>
          <ac:spMkLst>
            <pc:docMk/>
            <pc:sldMk cId="1705682879" sldId="2147470803"/>
            <ac:spMk id="8" creationId="{2D01B199-A21C-5A9F-3181-FD90861D21FE}"/>
          </ac:spMkLst>
        </pc:spChg>
        <pc:spChg chg="add mod">
          <ac:chgData name="Krishna  Patel" userId="ed2200d0-4eed-40c6-ab36-78bc62005773" providerId="ADAL" clId="{3F3D50BC-FABB-49F1-9EA1-A42C0824C70C}" dt="2025-07-14T10:17:54.954" v="1362"/>
          <ac:spMkLst>
            <pc:docMk/>
            <pc:sldMk cId="1705682879" sldId="2147470803"/>
            <ac:spMk id="9" creationId="{C546A168-8938-4660-0930-410F22307A5B}"/>
          </ac:spMkLst>
        </pc:spChg>
        <pc:spChg chg="add mod">
          <ac:chgData name="Krishna  Patel" userId="ed2200d0-4eed-40c6-ab36-78bc62005773" providerId="ADAL" clId="{3F3D50BC-FABB-49F1-9EA1-A42C0824C70C}" dt="2025-07-14T10:17:54.954" v="1362"/>
          <ac:spMkLst>
            <pc:docMk/>
            <pc:sldMk cId="1705682879" sldId="2147470803"/>
            <ac:spMk id="11" creationId="{ABCE64D6-31E3-C5B6-5D63-4EA4E31B4BE7}"/>
          </ac:spMkLst>
        </pc:spChg>
        <pc:graphicFrameChg chg="mod modGraphic">
          <ac:chgData name="Krishna  Patel" userId="ed2200d0-4eed-40c6-ab36-78bc62005773" providerId="ADAL" clId="{3F3D50BC-FABB-49F1-9EA1-A42C0824C70C}" dt="2025-07-14T08:55:29.715" v="696" actId="14100"/>
          <ac:graphicFrameMkLst>
            <pc:docMk/>
            <pc:sldMk cId="1705682879" sldId="2147470803"/>
            <ac:graphicFrameMk id="10" creationId="{4F7A5909-BA31-2D19-49AC-976A2E75E136}"/>
          </ac:graphicFrameMkLst>
        </pc:graphicFrameChg>
      </pc:sldChg>
      <pc:sldChg chg="addSp delSp modSp mod modAnim">
        <pc:chgData name="Krishna  Patel" userId="ed2200d0-4eed-40c6-ab36-78bc62005773" providerId="ADAL" clId="{3F3D50BC-FABB-49F1-9EA1-A42C0824C70C}" dt="2025-07-14T10:16:49.457" v="1354"/>
        <pc:sldMkLst>
          <pc:docMk/>
          <pc:sldMk cId="1009956325" sldId="2147470804"/>
        </pc:sldMkLst>
        <pc:spChg chg="mod">
          <ac:chgData name="Krishna  Patel" userId="ed2200d0-4eed-40c6-ab36-78bc62005773" providerId="ADAL" clId="{3F3D50BC-FABB-49F1-9EA1-A42C0824C70C}" dt="2025-07-14T07:50:30.510" v="240" actId="255"/>
          <ac:spMkLst>
            <pc:docMk/>
            <pc:sldMk cId="1009956325" sldId="2147470804"/>
            <ac:spMk id="2" creationId="{605EE0EB-EAAE-DC6E-0D0F-24237B2EAF58}"/>
          </ac:spMkLst>
        </pc:spChg>
        <pc:spChg chg="mod">
          <ac:chgData name="Krishna  Patel" userId="ed2200d0-4eed-40c6-ab36-78bc62005773" providerId="ADAL" clId="{3F3D50BC-FABB-49F1-9EA1-A42C0824C70C}" dt="2025-07-14T07:48:50.434" v="231" actId="1035"/>
          <ac:spMkLst>
            <pc:docMk/>
            <pc:sldMk cId="1009956325" sldId="2147470804"/>
            <ac:spMk id="3" creationId="{9B6D6DEA-FBCD-D7D7-BDCA-E32BBBFEC967}"/>
          </ac:spMkLst>
        </pc:spChg>
        <pc:spChg chg="add mod">
          <ac:chgData name="Krishna  Patel" userId="ed2200d0-4eed-40c6-ab36-78bc62005773" providerId="ADAL" clId="{3F3D50BC-FABB-49F1-9EA1-A42C0824C70C}" dt="2025-07-14T10:16:49.457" v="1354"/>
          <ac:spMkLst>
            <pc:docMk/>
            <pc:sldMk cId="1009956325" sldId="2147470804"/>
            <ac:spMk id="7" creationId="{34CA7FA9-2173-8412-7F55-BA584C6AFC1C}"/>
          </ac:spMkLst>
        </pc:spChg>
        <pc:spChg chg="add mod">
          <ac:chgData name="Krishna  Patel" userId="ed2200d0-4eed-40c6-ab36-78bc62005773" providerId="ADAL" clId="{3F3D50BC-FABB-49F1-9EA1-A42C0824C70C}" dt="2025-07-14T10:16:49.457" v="1354"/>
          <ac:spMkLst>
            <pc:docMk/>
            <pc:sldMk cId="1009956325" sldId="2147470804"/>
            <ac:spMk id="9" creationId="{B6EDA3CD-5405-DDB7-FC5D-6B94541FDA03}"/>
          </ac:spMkLst>
        </pc:spChg>
        <pc:spChg chg="add mod">
          <ac:chgData name="Krishna  Patel" userId="ed2200d0-4eed-40c6-ab36-78bc62005773" providerId="ADAL" clId="{3F3D50BC-FABB-49F1-9EA1-A42C0824C70C}" dt="2025-07-14T10:16:49.457" v="1354"/>
          <ac:spMkLst>
            <pc:docMk/>
            <pc:sldMk cId="1009956325" sldId="2147470804"/>
            <ac:spMk id="10" creationId="{B9F6D432-6752-26C6-FCC8-8EA72B30A8C3}"/>
          </ac:spMkLst>
        </pc:spChg>
        <pc:picChg chg="mod">
          <ac:chgData name="Krishna  Patel" userId="ed2200d0-4eed-40c6-ab36-78bc62005773" providerId="ADAL" clId="{3F3D50BC-FABB-49F1-9EA1-A42C0824C70C}" dt="2025-07-14T10:04:35.448" v="1246" actId="1076"/>
          <ac:picMkLst>
            <pc:docMk/>
            <pc:sldMk cId="1009956325" sldId="2147470804"/>
            <ac:picMk id="8" creationId="{38F5AE79-52F1-5651-975A-381269797CA2}"/>
          </ac:picMkLst>
        </pc:picChg>
      </pc:sldChg>
      <pc:sldChg chg="addSp delSp modSp mod">
        <pc:chgData name="Krishna  Patel" userId="ed2200d0-4eed-40c6-ab36-78bc62005773" providerId="ADAL" clId="{3F3D50BC-FABB-49F1-9EA1-A42C0824C70C}" dt="2025-07-14T10:30:31.008" v="1445" actId="1036"/>
        <pc:sldMkLst>
          <pc:docMk/>
          <pc:sldMk cId="2493574894" sldId="2147470805"/>
        </pc:sldMkLst>
        <pc:spChg chg="mod">
          <ac:chgData name="Krishna  Patel" userId="ed2200d0-4eed-40c6-ab36-78bc62005773" providerId="ADAL" clId="{3F3D50BC-FABB-49F1-9EA1-A42C0824C70C}" dt="2025-07-14T10:14:10.963" v="1331"/>
          <ac:spMkLst>
            <pc:docMk/>
            <pc:sldMk cId="2493574894" sldId="2147470805"/>
            <ac:spMk id="7" creationId="{8E0E25FB-5EB0-BCCD-3130-0EFEEE44FAC3}"/>
          </ac:spMkLst>
        </pc:spChg>
        <pc:graphicFrameChg chg="add mod modGraphic">
          <ac:chgData name="Krishna  Patel" userId="ed2200d0-4eed-40c6-ab36-78bc62005773" providerId="ADAL" clId="{3F3D50BC-FABB-49F1-9EA1-A42C0824C70C}" dt="2025-07-14T09:56:14.113" v="1180" actId="1036"/>
          <ac:graphicFrameMkLst>
            <pc:docMk/>
            <pc:sldMk cId="2493574894" sldId="2147470805"/>
            <ac:graphicFrameMk id="2" creationId="{7AE142A3-45E1-E865-9911-9E64BCC93E72}"/>
          </ac:graphicFrameMkLst>
        </pc:graphicFrameChg>
        <pc:picChg chg="mod">
          <ac:chgData name="Krishna  Patel" userId="ed2200d0-4eed-40c6-ab36-78bc62005773" providerId="ADAL" clId="{3F3D50BC-FABB-49F1-9EA1-A42C0824C70C}" dt="2025-07-14T10:30:31.008" v="1445" actId="1036"/>
          <ac:picMkLst>
            <pc:docMk/>
            <pc:sldMk cId="2493574894" sldId="2147470805"/>
            <ac:picMk id="3" creationId="{3A205351-03BD-D82E-A1B7-50AE00C75789}"/>
          </ac:picMkLst>
        </pc:picChg>
      </pc:sldChg>
      <pc:sldChg chg="modSp mod">
        <pc:chgData name="Krishna  Patel" userId="ed2200d0-4eed-40c6-ab36-78bc62005773" providerId="ADAL" clId="{3F3D50BC-FABB-49F1-9EA1-A42C0824C70C}" dt="2025-07-14T10:14:28.038" v="1332"/>
        <pc:sldMkLst>
          <pc:docMk/>
          <pc:sldMk cId="716474061" sldId="2147470806"/>
        </pc:sldMkLst>
        <pc:spChg chg="mod">
          <ac:chgData name="Krishna  Patel" userId="ed2200d0-4eed-40c6-ab36-78bc62005773" providerId="ADAL" clId="{3F3D50BC-FABB-49F1-9EA1-A42C0824C70C}" dt="2025-07-14T10:14:28.038" v="1332"/>
          <ac:spMkLst>
            <pc:docMk/>
            <pc:sldMk cId="716474061" sldId="2147470806"/>
            <ac:spMk id="5" creationId="{9235BC68-33A6-2355-450B-505F88BC911B}"/>
          </ac:spMkLst>
        </pc:spChg>
        <pc:spChg chg="mod">
          <ac:chgData name="Krishna  Patel" userId="ed2200d0-4eed-40c6-ab36-78bc62005773" providerId="ADAL" clId="{3F3D50BC-FABB-49F1-9EA1-A42C0824C70C}" dt="2025-07-14T07:33:30.578" v="23" actId="14100"/>
          <ac:spMkLst>
            <pc:docMk/>
            <pc:sldMk cId="716474061" sldId="2147470806"/>
            <ac:spMk id="8" creationId="{3E25D248-86E9-3822-E721-1BEF3E75107C}"/>
          </ac:spMkLst>
        </pc:spChg>
      </pc:sldChg>
      <pc:sldChg chg="addSp delSp modSp mod setBg modAnim">
        <pc:chgData name="Krishna  Patel" userId="ed2200d0-4eed-40c6-ab36-78bc62005773" providerId="ADAL" clId="{3F3D50BC-FABB-49F1-9EA1-A42C0824C70C}" dt="2025-07-14T10:47:35.567" v="1532"/>
        <pc:sldMkLst>
          <pc:docMk/>
          <pc:sldMk cId="1870539726" sldId="2147470807"/>
        </pc:sldMkLst>
        <pc:spChg chg="mod">
          <ac:chgData name="Krishna  Patel" userId="ed2200d0-4eed-40c6-ab36-78bc62005773" providerId="ADAL" clId="{3F3D50BC-FABB-49F1-9EA1-A42C0824C70C}" dt="2025-07-14T10:47:08.882" v="1522" actId="26606"/>
          <ac:spMkLst>
            <pc:docMk/>
            <pc:sldMk cId="1870539726" sldId="2147470807"/>
            <ac:spMk id="2" creationId="{D8D24456-6C60-4D38-B519-6DE8312065A4}"/>
          </ac:spMkLst>
        </pc:spChg>
        <pc:spChg chg="mod">
          <ac:chgData name="Krishna  Patel" userId="ed2200d0-4eed-40c6-ab36-78bc62005773" providerId="ADAL" clId="{3F3D50BC-FABB-49F1-9EA1-A42C0824C70C}" dt="2025-07-14T10:47:08.882" v="1522" actId="26606"/>
          <ac:spMkLst>
            <pc:docMk/>
            <pc:sldMk cId="1870539726" sldId="2147470807"/>
            <ac:spMk id="3" creationId="{E1024EB0-9F58-B471-20B5-5169EFD40EE4}"/>
          </ac:spMkLst>
        </pc:spChg>
        <pc:spChg chg="add mod">
          <ac:chgData name="Krishna  Patel" userId="ed2200d0-4eed-40c6-ab36-78bc62005773" providerId="ADAL" clId="{3F3D50BC-FABB-49F1-9EA1-A42C0824C70C}" dt="2025-07-14T10:47:08.882" v="1522" actId="26606"/>
          <ac:spMkLst>
            <pc:docMk/>
            <pc:sldMk cId="1870539726" sldId="2147470807"/>
            <ac:spMk id="7" creationId="{7E59D7B1-D85D-F10F-7F1D-21CCA4445939}"/>
          </ac:spMkLst>
        </pc:spChg>
        <pc:spChg chg="add mod">
          <ac:chgData name="Krishna  Patel" userId="ed2200d0-4eed-40c6-ab36-78bc62005773" providerId="ADAL" clId="{3F3D50BC-FABB-49F1-9EA1-A42C0824C70C}" dt="2025-07-14T10:47:08.882" v="1522" actId="26606"/>
          <ac:spMkLst>
            <pc:docMk/>
            <pc:sldMk cId="1870539726" sldId="2147470807"/>
            <ac:spMk id="8" creationId="{DC4C0AFE-9AEC-9BB3-906A-AC2E07CB1EED}"/>
          </ac:spMkLst>
        </pc:spChg>
        <pc:spChg chg="add mod">
          <ac:chgData name="Krishna  Patel" userId="ed2200d0-4eed-40c6-ab36-78bc62005773" providerId="ADAL" clId="{3F3D50BC-FABB-49F1-9EA1-A42C0824C70C}" dt="2025-07-14T10:47:08.882" v="1522" actId="26606"/>
          <ac:spMkLst>
            <pc:docMk/>
            <pc:sldMk cId="1870539726" sldId="2147470807"/>
            <ac:spMk id="10" creationId="{AEB68E2B-5D01-588D-D60C-8D11A7754B66}"/>
          </ac:spMkLst>
        </pc:spChg>
      </pc:sldChg>
      <pc:sldChg chg="addSp delSp modSp mod modAnim">
        <pc:chgData name="Krishna  Patel" userId="ed2200d0-4eed-40c6-ab36-78bc62005773" providerId="ADAL" clId="{3F3D50BC-FABB-49F1-9EA1-A42C0824C70C}" dt="2025-07-14T10:30:37.458" v="1458" actId="1036"/>
        <pc:sldMkLst>
          <pc:docMk/>
          <pc:sldMk cId="767938927" sldId="2147470808"/>
        </pc:sldMkLst>
        <pc:spChg chg="mod">
          <ac:chgData name="Krishna  Patel" userId="ed2200d0-4eed-40c6-ab36-78bc62005773" providerId="ADAL" clId="{3F3D50BC-FABB-49F1-9EA1-A42C0824C70C}" dt="2025-07-14T07:34:18.763" v="36" actId="1035"/>
          <ac:spMkLst>
            <pc:docMk/>
            <pc:sldMk cId="767938927" sldId="2147470808"/>
            <ac:spMk id="3" creationId="{C049A939-C889-156D-8A0C-1F81631A01B6}"/>
          </ac:spMkLst>
        </pc:spChg>
        <pc:spChg chg="add mod">
          <ac:chgData name="Krishna  Patel" userId="ed2200d0-4eed-40c6-ab36-78bc62005773" providerId="ADAL" clId="{3F3D50BC-FABB-49F1-9EA1-A42C0824C70C}" dt="2025-07-14T10:15:11.418" v="1341"/>
          <ac:spMkLst>
            <pc:docMk/>
            <pc:sldMk cId="767938927" sldId="2147470808"/>
            <ac:spMk id="7" creationId="{E2FB2A59-849E-828A-F779-9E13B3542D26}"/>
          </ac:spMkLst>
        </pc:spChg>
        <pc:spChg chg="add mod">
          <ac:chgData name="Krishna  Patel" userId="ed2200d0-4eed-40c6-ab36-78bc62005773" providerId="ADAL" clId="{3F3D50BC-FABB-49F1-9EA1-A42C0824C70C}" dt="2025-07-14T10:15:11.418" v="1341"/>
          <ac:spMkLst>
            <pc:docMk/>
            <pc:sldMk cId="767938927" sldId="2147470808"/>
            <ac:spMk id="8" creationId="{E5F12325-9D10-331D-BB84-A45FCD4CDBCF}"/>
          </ac:spMkLst>
        </pc:spChg>
        <pc:spChg chg="add mod">
          <ac:chgData name="Krishna  Patel" userId="ed2200d0-4eed-40c6-ab36-78bc62005773" providerId="ADAL" clId="{3F3D50BC-FABB-49F1-9EA1-A42C0824C70C}" dt="2025-07-14T10:15:11.418" v="1341"/>
          <ac:spMkLst>
            <pc:docMk/>
            <pc:sldMk cId="767938927" sldId="2147470808"/>
            <ac:spMk id="9" creationId="{63D1FC66-E67F-32CB-FB1D-A5D9C2707441}"/>
          </ac:spMkLst>
        </pc:spChg>
      </pc:sldChg>
      <pc:sldChg chg="addSp delSp modSp mod">
        <pc:chgData name="Krishna  Patel" userId="ed2200d0-4eed-40c6-ab36-78bc62005773" providerId="ADAL" clId="{3F3D50BC-FABB-49F1-9EA1-A42C0824C70C}" dt="2025-07-14T10:16:40.191" v="1350"/>
        <pc:sldMkLst>
          <pc:docMk/>
          <pc:sldMk cId="492601898" sldId="2147470810"/>
        </pc:sldMkLst>
        <pc:spChg chg="add mod">
          <ac:chgData name="Krishna  Patel" userId="ed2200d0-4eed-40c6-ab36-78bc62005773" providerId="ADAL" clId="{3F3D50BC-FABB-49F1-9EA1-A42C0824C70C}" dt="2025-07-14T10:16:40.191" v="1350"/>
          <ac:spMkLst>
            <pc:docMk/>
            <pc:sldMk cId="492601898" sldId="2147470810"/>
            <ac:spMk id="2" creationId="{4E746B26-0D38-6BC4-0571-7B9654AF5FEE}"/>
          </ac:spMkLst>
        </pc:spChg>
        <pc:spChg chg="add mod">
          <ac:chgData name="Krishna  Patel" userId="ed2200d0-4eed-40c6-ab36-78bc62005773" providerId="ADAL" clId="{3F3D50BC-FABB-49F1-9EA1-A42C0824C70C}" dt="2025-07-14T10:16:40.191" v="1350"/>
          <ac:spMkLst>
            <pc:docMk/>
            <pc:sldMk cId="492601898" sldId="2147470810"/>
            <ac:spMk id="3" creationId="{063EB50A-DCA0-4095-9AB0-D3389665AC0D}"/>
          </ac:spMkLst>
        </pc:spChg>
        <pc:spChg chg="add mod">
          <ac:chgData name="Krishna  Patel" userId="ed2200d0-4eed-40c6-ab36-78bc62005773" providerId="ADAL" clId="{3F3D50BC-FABB-49F1-9EA1-A42C0824C70C}" dt="2025-07-14T10:16:40.191" v="1350"/>
          <ac:spMkLst>
            <pc:docMk/>
            <pc:sldMk cId="492601898" sldId="2147470810"/>
            <ac:spMk id="7" creationId="{DEF030CA-F98D-645D-A15C-56356F45DFF7}"/>
          </ac:spMkLst>
        </pc:spChg>
      </pc:sldChg>
      <pc:sldChg chg="addSp delSp modSp mod modAnim">
        <pc:chgData name="Krishna  Patel" userId="ed2200d0-4eed-40c6-ab36-78bc62005773" providerId="ADAL" clId="{3F3D50BC-FABB-49F1-9EA1-A42C0824C70C}" dt="2025-07-14T10:16:44.723" v="1352"/>
        <pc:sldMkLst>
          <pc:docMk/>
          <pc:sldMk cId="3065532479" sldId="2147470811"/>
        </pc:sldMkLst>
        <pc:spChg chg="add mod">
          <ac:chgData name="Krishna  Patel" userId="ed2200d0-4eed-40c6-ab36-78bc62005773" providerId="ADAL" clId="{3F3D50BC-FABB-49F1-9EA1-A42C0824C70C}" dt="2025-07-14T09:47:03.264" v="1072" actId="1076"/>
          <ac:spMkLst>
            <pc:docMk/>
            <pc:sldMk cId="3065532479" sldId="2147470811"/>
            <ac:spMk id="2" creationId="{B4B71B4D-F0D8-7932-C2BB-08EDECF07275}"/>
          </ac:spMkLst>
        </pc:spChg>
        <pc:spChg chg="mod">
          <ac:chgData name="Krishna  Patel" userId="ed2200d0-4eed-40c6-ab36-78bc62005773" providerId="ADAL" clId="{3F3D50BC-FABB-49F1-9EA1-A42C0824C70C}" dt="2025-07-14T10:03:06.278" v="1230" actId="554"/>
          <ac:spMkLst>
            <pc:docMk/>
            <pc:sldMk cId="3065532479" sldId="2147470811"/>
            <ac:spMk id="6" creationId="{95B28894-C522-8B72-7593-1BD9FC488D79}"/>
          </ac:spMkLst>
        </pc:spChg>
        <pc:spChg chg="mod">
          <ac:chgData name="Krishna  Patel" userId="ed2200d0-4eed-40c6-ab36-78bc62005773" providerId="ADAL" clId="{3F3D50BC-FABB-49F1-9EA1-A42C0824C70C}" dt="2025-07-14T10:01:08.540" v="1203" actId="12"/>
          <ac:spMkLst>
            <pc:docMk/>
            <pc:sldMk cId="3065532479" sldId="2147470811"/>
            <ac:spMk id="7" creationId="{8A112D95-B3E8-977B-8EF8-9F4C6BF01840}"/>
          </ac:spMkLst>
        </pc:spChg>
        <pc:spChg chg="add mod">
          <ac:chgData name="Krishna  Patel" userId="ed2200d0-4eed-40c6-ab36-78bc62005773" providerId="ADAL" clId="{3F3D50BC-FABB-49F1-9EA1-A42C0824C70C}" dt="2025-07-14T09:47:03.264" v="1072" actId="1076"/>
          <ac:spMkLst>
            <pc:docMk/>
            <pc:sldMk cId="3065532479" sldId="2147470811"/>
            <ac:spMk id="8" creationId="{CB665AB2-18E7-1992-8B53-19F03165B9B4}"/>
          </ac:spMkLst>
        </pc:spChg>
        <pc:spChg chg="mod">
          <ac:chgData name="Krishna  Patel" userId="ed2200d0-4eed-40c6-ab36-78bc62005773" providerId="ADAL" clId="{3F3D50BC-FABB-49F1-9EA1-A42C0824C70C}" dt="2025-07-14T10:01:08.540" v="1203" actId="12"/>
          <ac:spMkLst>
            <pc:docMk/>
            <pc:sldMk cId="3065532479" sldId="2147470811"/>
            <ac:spMk id="9" creationId="{C6DB7191-8E01-0286-5DE3-BB47418E2013}"/>
          </ac:spMkLst>
        </pc:spChg>
        <pc:spChg chg="add mod">
          <ac:chgData name="Krishna  Patel" userId="ed2200d0-4eed-40c6-ab36-78bc62005773" providerId="ADAL" clId="{3F3D50BC-FABB-49F1-9EA1-A42C0824C70C}" dt="2025-07-14T09:47:14.271" v="1074" actId="208"/>
          <ac:spMkLst>
            <pc:docMk/>
            <pc:sldMk cId="3065532479" sldId="2147470811"/>
            <ac:spMk id="10" creationId="{A41B167D-0103-0E93-5F7C-5928EEA1EF6D}"/>
          </ac:spMkLst>
        </pc:spChg>
        <pc:spChg chg="mod">
          <ac:chgData name="Krishna  Patel" userId="ed2200d0-4eed-40c6-ab36-78bc62005773" providerId="ADAL" clId="{3F3D50BC-FABB-49F1-9EA1-A42C0824C70C}" dt="2025-07-14T10:04:07.277" v="1242" actId="14100"/>
          <ac:spMkLst>
            <pc:docMk/>
            <pc:sldMk cId="3065532479" sldId="2147470811"/>
            <ac:spMk id="11" creationId="{2097431E-B66F-D447-1BF3-9807D1954348}"/>
          </ac:spMkLst>
        </pc:spChg>
        <pc:spChg chg="add mod">
          <ac:chgData name="Krishna  Patel" userId="ed2200d0-4eed-40c6-ab36-78bc62005773" providerId="ADAL" clId="{3F3D50BC-FABB-49F1-9EA1-A42C0824C70C}" dt="2025-07-14T10:03:50.848" v="1239" actId="207"/>
          <ac:spMkLst>
            <pc:docMk/>
            <pc:sldMk cId="3065532479" sldId="2147470811"/>
            <ac:spMk id="12" creationId="{AA982988-2FF1-0191-7C37-30F5C3F2AE06}"/>
          </ac:spMkLst>
        </pc:spChg>
        <pc:spChg chg="add mod">
          <ac:chgData name="Krishna  Patel" userId="ed2200d0-4eed-40c6-ab36-78bc62005773" providerId="ADAL" clId="{3F3D50BC-FABB-49F1-9EA1-A42C0824C70C}" dt="2025-07-14T10:03:06.278" v="1230" actId="554"/>
          <ac:spMkLst>
            <pc:docMk/>
            <pc:sldMk cId="3065532479" sldId="2147470811"/>
            <ac:spMk id="13" creationId="{E3BE6F8C-A7E4-2D66-9623-E6E10890ED3E}"/>
          </ac:spMkLst>
        </pc:spChg>
        <pc:spChg chg="add mod">
          <ac:chgData name="Krishna  Patel" userId="ed2200d0-4eed-40c6-ab36-78bc62005773" providerId="ADAL" clId="{3F3D50BC-FABB-49F1-9EA1-A42C0824C70C}" dt="2025-07-14T10:16:44.723" v="1352"/>
          <ac:spMkLst>
            <pc:docMk/>
            <pc:sldMk cId="3065532479" sldId="2147470811"/>
            <ac:spMk id="14" creationId="{B6383C7A-29A0-B096-CE41-F1BD35BADC7B}"/>
          </ac:spMkLst>
        </pc:spChg>
        <pc:spChg chg="add mod">
          <ac:chgData name="Krishna  Patel" userId="ed2200d0-4eed-40c6-ab36-78bc62005773" providerId="ADAL" clId="{3F3D50BC-FABB-49F1-9EA1-A42C0824C70C}" dt="2025-07-14T10:16:44.723" v="1352"/>
          <ac:spMkLst>
            <pc:docMk/>
            <pc:sldMk cId="3065532479" sldId="2147470811"/>
            <ac:spMk id="15" creationId="{562EC0BB-EB64-EBA0-257D-9E13DD7E3B0E}"/>
          </ac:spMkLst>
        </pc:spChg>
        <pc:spChg chg="add mod">
          <ac:chgData name="Krishna  Patel" userId="ed2200d0-4eed-40c6-ab36-78bc62005773" providerId="ADAL" clId="{3F3D50BC-FABB-49F1-9EA1-A42C0824C70C}" dt="2025-07-14T10:16:44.723" v="1352"/>
          <ac:spMkLst>
            <pc:docMk/>
            <pc:sldMk cId="3065532479" sldId="2147470811"/>
            <ac:spMk id="16" creationId="{8EA77219-3DE9-F7CB-2815-97D82A5E3E18}"/>
          </ac:spMkLst>
        </pc:spChg>
      </pc:sldChg>
      <pc:sldChg chg="addSp delSp modSp mod modAnim">
        <pc:chgData name="Krishna  Patel" userId="ed2200d0-4eed-40c6-ab36-78bc62005773" providerId="ADAL" clId="{3F3D50BC-FABB-49F1-9EA1-A42C0824C70C}" dt="2025-07-14T10:28:52.501" v="1439" actId="20577"/>
        <pc:sldMkLst>
          <pc:docMk/>
          <pc:sldMk cId="2434597008" sldId="2147474956"/>
        </pc:sldMkLst>
        <pc:spChg chg="add mod">
          <ac:chgData name="Krishna  Patel" userId="ed2200d0-4eed-40c6-ab36-78bc62005773" providerId="ADAL" clId="{3F3D50BC-FABB-49F1-9EA1-A42C0824C70C}" dt="2025-07-14T10:18:21.578" v="1372"/>
          <ac:spMkLst>
            <pc:docMk/>
            <pc:sldMk cId="2434597008" sldId="2147474956"/>
            <ac:spMk id="2" creationId="{FDF406D4-ED77-390B-B582-806191CCECF0}"/>
          </ac:spMkLst>
        </pc:spChg>
        <pc:spChg chg="add mod">
          <ac:chgData name="Krishna  Patel" userId="ed2200d0-4eed-40c6-ab36-78bc62005773" providerId="ADAL" clId="{3F3D50BC-FABB-49F1-9EA1-A42C0824C70C}" dt="2025-07-14T10:18:21.578" v="1372"/>
          <ac:spMkLst>
            <pc:docMk/>
            <pc:sldMk cId="2434597008" sldId="2147474956"/>
            <ac:spMk id="4" creationId="{E4624829-763E-73C4-81C5-4D5AE3B87E33}"/>
          </ac:spMkLst>
        </pc:spChg>
        <pc:spChg chg="add mod">
          <ac:chgData name="Krishna  Patel" userId="ed2200d0-4eed-40c6-ab36-78bc62005773" providerId="ADAL" clId="{3F3D50BC-FABB-49F1-9EA1-A42C0824C70C}" dt="2025-07-14T10:18:21.578" v="1372"/>
          <ac:spMkLst>
            <pc:docMk/>
            <pc:sldMk cId="2434597008" sldId="2147474956"/>
            <ac:spMk id="8" creationId="{F54966EF-C584-8C5A-6F29-173E36BF930D}"/>
          </ac:spMkLst>
        </pc:spChg>
        <pc:spChg chg="mod">
          <ac:chgData name="Krishna  Patel" userId="ed2200d0-4eed-40c6-ab36-78bc62005773" providerId="ADAL" clId="{3F3D50BC-FABB-49F1-9EA1-A42C0824C70C}" dt="2025-07-14T10:28:52.501" v="1439" actId="20577"/>
          <ac:spMkLst>
            <pc:docMk/>
            <pc:sldMk cId="2434597008" sldId="2147474956"/>
            <ac:spMk id="10" creationId="{9C338B1A-4B79-B4DB-DBD6-F8ECCC5F9855}"/>
          </ac:spMkLst>
        </pc:spChg>
      </pc:sldChg>
      <pc:sldChg chg="addSp delSp modSp mod modAnim">
        <pc:chgData name="Krishna  Patel" userId="ed2200d0-4eed-40c6-ab36-78bc62005773" providerId="ADAL" clId="{3F3D50BC-FABB-49F1-9EA1-A42C0824C70C}" dt="2025-07-14T10:28:49.480" v="1438" actId="20577"/>
        <pc:sldMkLst>
          <pc:docMk/>
          <pc:sldMk cId="2607678833" sldId="2147475321"/>
        </pc:sldMkLst>
        <pc:spChg chg="add mod">
          <ac:chgData name="Krishna  Patel" userId="ed2200d0-4eed-40c6-ab36-78bc62005773" providerId="ADAL" clId="{3F3D50BC-FABB-49F1-9EA1-A42C0824C70C}" dt="2025-07-14T10:18:28.288" v="1374"/>
          <ac:spMkLst>
            <pc:docMk/>
            <pc:sldMk cId="2607678833" sldId="2147475321"/>
            <ac:spMk id="4" creationId="{83B70AE6-9C04-D968-D0DF-D7237B07E479}"/>
          </ac:spMkLst>
        </pc:spChg>
        <pc:spChg chg="add mod">
          <ac:chgData name="Krishna  Patel" userId="ed2200d0-4eed-40c6-ab36-78bc62005773" providerId="ADAL" clId="{3F3D50BC-FABB-49F1-9EA1-A42C0824C70C}" dt="2025-07-14T10:18:28.288" v="1374"/>
          <ac:spMkLst>
            <pc:docMk/>
            <pc:sldMk cId="2607678833" sldId="2147475321"/>
            <ac:spMk id="7" creationId="{38D30DF7-4D65-AB25-546A-00D2ADB447F9}"/>
          </ac:spMkLst>
        </pc:spChg>
        <pc:spChg chg="add mod">
          <ac:chgData name="Krishna  Patel" userId="ed2200d0-4eed-40c6-ab36-78bc62005773" providerId="ADAL" clId="{3F3D50BC-FABB-49F1-9EA1-A42C0824C70C}" dt="2025-07-14T10:18:28.288" v="1374"/>
          <ac:spMkLst>
            <pc:docMk/>
            <pc:sldMk cId="2607678833" sldId="2147475321"/>
            <ac:spMk id="8" creationId="{107E16F9-5A84-98B6-6B02-2CBA4E7D1AAD}"/>
          </ac:spMkLst>
        </pc:spChg>
        <pc:spChg chg="mod">
          <ac:chgData name="Krishna  Patel" userId="ed2200d0-4eed-40c6-ab36-78bc62005773" providerId="ADAL" clId="{3F3D50BC-FABB-49F1-9EA1-A42C0824C70C}" dt="2025-07-14T10:28:49.480" v="1438" actId="20577"/>
          <ac:spMkLst>
            <pc:docMk/>
            <pc:sldMk cId="2607678833" sldId="2147475321"/>
            <ac:spMk id="10" creationId="{6A88E95E-73BC-B243-A32F-1948B543998A}"/>
          </ac:spMkLst>
        </pc:spChg>
      </pc:sldChg>
      <pc:sldChg chg="addSp delSp modSp mod modAnim">
        <pc:chgData name="Krishna  Patel" userId="ed2200d0-4eed-40c6-ab36-78bc62005773" providerId="ADAL" clId="{3F3D50BC-FABB-49F1-9EA1-A42C0824C70C}" dt="2025-07-14T10:18:10.258" v="1368"/>
        <pc:sldMkLst>
          <pc:docMk/>
          <pc:sldMk cId="4242936448" sldId="2147475568"/>
        </pc:sldMkLst>
        <pc:spChg chg="add mod">
          <ac:chgData name="Krishna  Patel" userId="ed2200d0-4eed-40c6-ab36-78bc62005773" providerId="ADAL" clId="{3F3D50BC-FABB-49F1-9EA1-A42C0824C70C}" dt="2025-07-14T10:18:10.258" v="1368"/>
          <ac:spMkLst>
            <pc:docMk/>
            <pc:sldMk cId="4242936448" sldId="2147475568"/>
            <ac:spMk id="6" creationId="{BBC6D8F3-07D2-700B-1622-825840510FDD}"/>
          </ac:spMkLst>
        </pc:spChg>
        <pc:spChg chg="add mod">
          <ac:chgData name="Krishna  Patel" userId="ed2200d0-4eed-40c6-ab36-78bc62005773" providerId="ADAL" clId="{3F3D50BC-FABB-49F1-9EA1-A42C0824C70C}" dt="2025-07-14T10:18:10.258" v="1368"/>
          <ac:spMkLst>
            <pc:docMk/>
            <pc:sldMk cId="4242936448" sldId="2147475568"/>
            <ac:spMk id="7" creationId="{15C51902-771E-A50A-59BB-EE7BC7E1F3B6}"/>
          </ac:spMkLst>
        </pc:spChg>
        <pc:spChg chg="add mod">
          <ac:chgData name="Krishna  Patel" userId="ed2200d0-4eed-40c6-ab36-78bc62005773" providerId="ADAL" clId="{3F3D50BC-FABB-49F1-9EA1-A42C0824C70C}" dt="2025-07-14T10:18:10.258" v="1368"/>
          <ac:spMkLst>
            <pc:docMk/>
            <pc:sldMk cId="4242936448" sldId="2147475568"/>
            <ac:spMk id="8" creationId="{28D97934-BE86-3AF2-B4C9-CDE231BAA65C}"/>
          </ac:spMkLst>
        </pc:spChg>
        <pc:graphicFrameChg chg="mod modGraphic">
          <ac:chgData name="Krishna  Patel" userId="ed2200d0-4eed-40c6-ab36-78bc62005773" providerId="ADAL" clId="{3F3D50BC-FABB-49F1-9EA1-A42C0824C70C}" dt="2025-07-14T08:56:38.034" v="709" actId="14734"/>
          <ac:graphicFrameMkLst>
            <pc:docMk/>
            <pc:sldMk cId="4242936448" sldId="2147475568"/>
            <ac:graphicFrameMk id="5" creationId="{D6075A8B-35A9-D74C-DEBB-E91189C88663}"/>
          </ac:graphicFrameMkLst>
        </pc:graphicFrameChg>
      </pc:sldChg>
      <pc:sldChg chg="addSp delSp modSp mod modAnim">
        <pc:chgData name="Krishna  Patel" userId="ed2200d0-4eed-40c6-ab36-78bc62005773" providerId="ADAL" clId="{3F3D50BC-FABB-49F1-9EA1-A42C0824C70C}" dt="2025-07-14T10:18:17.398" v="1370"/>
        <pc:sldMkLst>
          <pc:docMk/>
          <pc:sldMk cId="2093920399" sldId="2147475570"/>
        </pc:sldMkLst>
        <pc:spChg chg="add mod">
          <ac:chgData name="Krishna  Patel" userId="ed2200d0-4eed-40c6-ab36-78bc62005773" providerId="ADAL" clId="{3F3D50BC-FABB-49F1-9EA1-A42C0824C70C}" dt="2025-07-14T10:18:17.398" v="1370"/>
          <ac:spMkLst>
            <pc:docMk/>
            <pc:sldMk cId="2093920399" sldId="2147475570"/>
            <ac:spMk id="3" creationId="{ED104EAB-B9AF-D266-D547-3433D45DE9E7}"/>
          </ac:spMkLst>
        </pc:spChg>
        <pc:spChg chg="add mod">
          <ac:chgData name="Krishna  Patel" userId="ed2200d0-4eed-40c6-ab36-78bc62005773" providerId="ADAL" clId="{3F3D50BC-FABB-49F1-9EA1-A42C0824C70C}" dt="2025-07-14T10:18:17.398" v="1370"/>
          <ac:spMkLst>
            <pc:docMk/>
            <pc:sldMk cId="2093920399" sldId="2147475570"/>
            <ac:spMk id="7" creationId="{68016620-F72B-461E-FD96-E060FF14D555}"/>
          </ac:spMkLst>
        </pc:spChg>
        <pc:spChg chg="add mod">
          <ac:chgData name="Krishna  Patel" userId="ed2200d0-4eed-40c6-ab36-78bc62005773" providerId="ADAL" clId="{3F3D50BC-FABB-49F1-9EA1-A42C0824C70C}" dt="2025-07-14T10:18:17.398" v="1370"/>
          <ac:spMkLst>
            <pc:docMk/>
            <pc:sldMk cId="2093920399" sldId="2147475570"/>
            <ac:spMk id="8" creationId="{44FAD53B-095A-E6D9-F74B-46ACA16E5733}"/>
          </ac:spMkLst>
        </pc:spChg>
        <pc:graphicFrameChg chg="modGraphic">
          <ac:chgData name="Krishna  Patel" userId="ed2200d0-4eed-40c6-ab36-78bc62005773" providerId="ADAL" clId="{3F3D50BC-FABB-49F1-9EA1-A42C0824C70C}" dt="2025-07-14T08:56:46.883" v="710" actId="14734"/>
          <ac:graphicFrameMkLst>
            <pc:docMk/>
            <pc:sldMk cId="2093920399" sldId="2147475570"/>
            <ac:graphicFrameMk id="5" creationId="{E8FB25B3-9543-4F45-B44A-8C3731F224D9}"/>
          </ac:graphicFrameMkLst>
        </pc:graphicFrameChg>
      </pc:sldChg>
      <pc:sldChg chg="addSp delSp modSp mod modAnim">
        <pc:chgData name="Krishna  Patel" userId="ed2200d0-4eed-40c6-ab36-78bc62005773" providerId="ADAL" clId="{3F3D50BC-FABB-49F1-9EA1-A42C0824C70C}" dt="2025-07-14T10:31:01.377" v="1461" actId="1036"/>
        <pc:sldMkLst>
          <pc:docMk/>
          <pc:sldMk cId="1508866936" sldId="2147475571"/>
        </pc:sldMkLst>
        <pc:spChg chg="mod">
          <ac:chgData name="Krishna  Patel" userId="ed2200d0-4eed-40c6-ab36-78bc62005773" providerId="ADAL" clId="{3F3D50BC-FABB-49F1-9EA1-A42C0824C70C}" dt="2025-07-14T10:23:22.285" v="1388"/>
          <ac:spMkLst>
            <pc:docMk/>
            <pc:sldMk cId="1508866936" sldId="2147475571"/>
            <ac:spMk id="7" creationId="{257B7A38-A2D4-DD63-00F2-C3F92C7DF4E7}"/>
          </ac:spMkLst>
        </pc:spChg>
        <pc:spChg chg="mod">
          <ac:chgData name="Krishna  Patel" userId="ed2200d0-4eed-40c6-ab36-78bc62005773" providerId="ADAL" clId="{3F3D50BC-FABB-49F1-9EA1-A42C0824C70C}" dt="2025-07-14T09:00:36.994" v="786" actId="1035"/>
          <ac:spMkLst>
            <pc:docMk/>
            <pc:sldMk cId="1508866936" sldId="2147475571"/>
            <ac:spMk id="12" creationId="{A2D06C79-F754-CD77-5AF2-6C0013A30E3F}"/>
          </ac:spMkLst>
        </pc:spChg>
        <pc:picChg chg="add mod modCrop">
          <ac:chgData name="Krishna  Patel" userId="ed2200d0-4eed-40c6-ab36-78bc62005773" providerId="ADAL" clId="{3F3D50BC-FABB-49F1-9EA1-A42C0824C70C}" dt="2025-07-14T10:31:01.377" v="1461" actId="1036"/>
          <ac:picMkLst>
            <pc:docMk/>
            <pc:sldMk cId="1508866936" sldId="2147475571"/>
            <ac:picMk id="3" creationId="{F871B9D4-34CF-A060-B60B-B74280DC57BB}"/>
          </ac:picMkLst>
        </pc:picChg>
        <pc:picChg chg="add mod modCrop">
          <ac:chgData name="Krishna  Patel" userId="ed2200d0-4eed-40c6-ab36-78bc62005773" providerId="ADAL" clId="{3F3D50BC-FABB-49F1-9EA1-A42C0824C70C}" dt="2025-07-14T09:28:38.356" v="1046" actId="1076"/>
          <ac:picMkLst>
            <pc:docMk/>
            <pc:sldMk cId="1508866936" sldId="2147475571"/>
            <ac:picMk id="11" creationId="{2359FB41-2F24-0AD8-EDDF-3801161B91B1}"/>
          </ac:picMkLst>
        </pc:picChg>
      </pc:sldChg>
      <pc:sldChg chg="addSp modSp mod">
        <pc:chgData name="Krishna  Patel" userId="ed2200d0-4eed-40c6-ab36-78bc62005773" providerId="ADAL" clId="{3F3D50BC-FABB-49F1-9EA1-A42C0824C70C}" dt="2025-07-14T09:55:20.418" v="1177" actId="207"/>
        <pc:sldMkLst>
          <pc:docMk/>
          <pc:sldMk cId="2392527415" sldId="2147475572"/>
        </pc:sldMkLst>
        <pc:spChg chg="mod">
          <ac:chgData name="Krishna  Patel" userId="ed2200d0-4eed-40c6-ab36-78bc62005773" providerId="ADAL" clId="{3F3D50BC-FABB-49F1-9EA1-A42C0824C70C}" dt="2025-07-14T09:55:17.415" v="1176" actId="207"/>
          <ac:spMkLst>
            <pc:docMk/>
            <pc:sldMk cId="2392527415" sldId="2147475572"/>
            <ac:spMk id="16" creationId="{5B499CD7-BDEB-EBBC-DEFD-1D153553AAB2}"/>
          </ac:spMkLst>
        </pc:spChg>
        <pc:spChg chg="mod">
          <ac:chgData name="Krishna  Patel" userId="ed2200d0-4eed-40c6-ab36-78bc62005773" providerId="ADAL" clId="{3F3D50BC-FABB-49F1-9EA1-A42C0824C70C}" dt="2025-07-14T09:55:12.100" v="1175" actId="207"/>
          <ac:spMkLst>
            <pc:docMk/>
            <pc:sldMk cId="2392527415" sldId="2147475572"/>
            <ac:spMk id="17" creationId="{CF447FD7-9D3A-0780-1A2B-2C46D17978EF}"/>
          </ac:spMkLst>
        </pc:spChg>
        <pc:spChg chg="mod">
          <ac:chgData name="Krishna  Patel" userId="ed2200d0-4eed-40c6-ab36-78bc62005773" providerId="ADAL" clId="{3F3D50BC-FABB-49F1-9EA1-A42C0824C70C}" dt="2025-07-14T09:55:20.418" v="1177" actId="207"/>
          <ac:spMkLst>
            <pc:docMk/>
            <pc:sldMk cId="2392527415" sldId="2147475572"/>
            <ac:spMk id="18" creationId="{3EF4E0A9-2F00-A5A9-0897-6086F31A35E6}"/>
          </ac:spMkLst>
        </pc:spChg>
        <pc:picChg chg="add mod">
          <ac:chgData name="Krishna  Patel" userId="ed2200d0-4eed-40c6-ab36-78bc62005773" providerId="ADAL" clId="{3F3D50BC-FABB-49F1-9EA1-A42C0824C70C}" dt="2025-07-14T09:54:40.940" v="1173"/>
          <ac:picMkLst>
            <pc:docMk/>
            <pc:sldMk cId="2392527415" sldId="2147475572"/>
            <ac:picMk id="2" creationId="{2613D43A-7F4D-90D2-8F23-2AB32C741CF3}"/>
          </ac:picMkLst>
        </pc:picChg>
        <pc:picChg chg="mod">
          <ac:chgData name="Krishna  Patel" userId="ed2200d0-4eed-40c6-ab36-78bc62005773" providerId="ADAL" clId="{3F3D50BC-FABB-49F1-9EA1-A42C0824C70C}" dt="2025-07-14T09:54:57.453" v="1174" actId="207"/>
          <ac:picMkLst>
            <pc:docMk/>
            <pc:sldMk cId="2392527415" sldId="2147475572"/>
            <ac:picMk id="23" creationId="{13E8B1A9-D6B6-754B-7B29-46CD6C603439}"/>
          </ac:picMkLst>
        </pc:picChg>
      </pc:sldChg>
      <pc:sldChg chg="addSp modSp mod modClrScheme modAnim chgLayout">
        <pc:chgData name="Krishna  Patel" userId="ed2200d0-4eed-40c6-ab36-78bc62005773" providerId="ADAL" clId="{3F3D50BC-FABB-49F1-9EA1-A42C0824C70C}" dt="2025-07-14T10:23:30.873" v="1389"/>
        <pc:sldMkLst>
          <pc:docMk/>
          <pc:sldMk cId="819136857" sldId="2147475574"/>
        </pc:sldMkLst>
        <pc:spChg chg="mod ord">
          <ac:chgData name="Krishna  Patel" userId="ed2200d0-4eed-40c6-ab36-78bc62005773" providerId="ADAL" clId="{3F3D50BC-FABB-49F1-9EA1-A42C0824C70C}" dt="2025-07-14T09:02:35.683" v="798" actId="700"/>
          <ac:spMkLst>
            <pc:docMk/>
            <pc:sldMk cId="819136857" sldId="2147475574"/>
            <ac:spMk id="2" creationId="{0FE0E2C1-7DED-234E-2345-5D7304AF99FA}"/>
          </ac:spMkLst>
        </pc:spChg>
        <pc:spChg chg="mod ord">
          <ac:chgData name="Krishna  Patel" userId="ed2200d0-4eed-40c6-ab36-78bc62005773" providerId="ADAL" clId="{3F3D50BC-FABB-49F1-9EA1-A42C0824C70C}" dt="2025-07-14T09:02:35.683" v="798" actId="700"/>
          <ac:spMkLst>
            <pc:docMk/>
            <pc:sldMk cId="819136857" sldId="2147475574"/>
            <ac:spMk id="4" creationId="{EE90A299-7C63-026F-559A-112417FC2963}"/>
          </ac:spMkLst>
        </pc:spChg>
        <pc:spChg chg="mod ord">
          <ac:chgData name="Krishna  Patel" userId="ed2200d0-4eed-40c6-ab36-78bc62005773" providerId="ADAL" clId="{3F3D50BC-FABB-49F1-9EA1-A42C0824C70C}" dt="2025-07-14T10:23:30.873" v="1389"/>
          <ac:spMkLst>
            <pc:docMk/>
            <pc:sldMk cId="819136857" sldId="2147475574"/>
            <ac:spMk id="5" creationId="{895E9CB6-78C7-007B-F114-4B3C8958A049}"/>
          </ac:spMkLst>
        </pc:spChg>
        <pc:spChg chg="mod ord">
          <ac:chgData name="Krishna  Patel" userId="ed2200d0-4eed-40c6-ab36-78bc62005773" providerId="ADAL" clId="{3F3D50BC-FABB-49F1-9EA1-A42C0824C70C}" dt="2025-07-14T09:02:35.683" v="798" actId="700"/>
          <ac:spMkLst>
            <pc:docMk/>
            <pc:sldMk cId="819136857" sldId="2147475574"/>
            <ac:spMk id="6" creationId="{4CA9EDE2-20FB-1E06-4ED7-2507CD02E933}"/>
          </ac:spMkLst>
        </pc:spChg>
        <pc:spChg chg="mod ord">
          <ac:chgData name="Krishna  Patel" userId="ed2200d0-4eed-40c6-ab36-78bc62005773" providerId="ADAL" clId="{3F3D50BC-FABB-49F1-9EA1-A42C0824C70C}" dt="2025-07-14T10:09:36.807" v="1292" actId="1076"/>
          <ac:spMkLst>
            <pc:docMk/>
            <pc:sldMk cId="819136857" sldId="2147475574"/>
            <ac:spMk id="8" creationId="{9AD7F1FF-72E5-2A0D-C1DE-E927AC8C6638}"/>
          </ac:spMkLst>
        </pc:spChg>
        <pc:spChg chg="mod ord">
          <ac:chgData name="Krishna  Patel" userId="ed2200d0-4eed-40c6-ab36-78bc62005773" providerId="ADAL" clId="{3F3D50BC-FABB-49F1-9EA1-A42C0824C70C}" dt="2025-07-14T10:09:36.807" v="1292" actId="1076"/>
          <ac:spMkLst>
            <pc:docMk/>
            <pc:sldMk cId="819136857" sldId="2147475574"/>
            <ac:spMk id="9" creationId="{24CB4236-D613-C33A-7FDB-7B2BE590143B}"/>
          </ac:spMkLst>
        </pc:spChg>
        <pc:spChg chg="mod ord">
          <ac:chgData name="Krishna  Patel" userId="ed2200d0-4eed-40c6-ab36-78bc62005773" providerId="ADAL" clId="{3F3D50BC-FABB-49F1-9EA1-A42C0824C70C}" dt="2025-07-14T09:02:35.683" v="798" actId="700"/>
          <ac:spMkLst>
            <pc:docMk/>
            <pc:sldMk cId="819136857" sldId="2147475574"/>
            <ac:spMk id="10" creationId="{601B15E8-4CBE-0AF5-A245-02B8271765CB}"/>
          </ac:spMkLst>
        </pc:spChg>
        <pc:spChg chg="mod ord">
          <ac:chgData name="Krishna  Patel" userId="ed2200d0-4eed-40c6-ab36-78bc62005773" providerId="ADAL" clId="{3F3D50BC-FABB-49F1-9EA1-A42C0824C70C}" dt="2025-07-14T09:02:35.683" v="798" actId="700"/>
          <ac:spMkLst>
            <pc:docMk/>
            <pc:sldMk cId="819136857" sldId="2147475574"/>
            <ac:spMk id="11" creationId="{79B327F5-9A6E-E8B4-1028-8AD5B58BCFBD}"/>
          </ac:spMkLst>
        </pc:spChg>
        <pc:spChg chg="mod ord">
          <ac:chgData name="Krishna  Patel" userId="ed2200d0-4eed-40c6-ab36-78bc62005773" providerId="ADAL" clId="{3F3D50BC-FABB-49F1-9EA1-A42C0824C70C}" dt="2025-07-14T09:02:35.683" v="798" actId="700"/>
          <ac:spMkLst>
            <pc:docMk/>
            <pc:sldMk cId="819136857" sldId="2147475574"/>
            <ac:spMk id="12" creationId="{E0AA8E98-5AB3-6913-9AB5-2078289D025E}"/>
          </ac:spMkLst>
        </pc:spChg>
        <pc:spChg chg="mod ord">
          <ac:chgData name="Krishna  Patel" userId="ed2200d0-4eed-40c6-ab36-78bc62005773" providerId="ADAL" clId="{3F3D50BC-FABB-49F1-9EA1-A42C0824C70C}" dt="2025-07-14T09:02:35.683" v="798" actId="700"/>
          <ac:spMkLst>
            <pc:docMk/>
            <pc:sldMk cId="819136857" sldId="2147475574"/>
            <ac:spMk id="13" creationId="{129753D1-5DDC-0A61-803C-55D6826DDC7E}"/>
          </ac:spMkLst>
        </pc:spChg>
        <pc:cxnChg chg="add mod">
          <ac:chgData name="Krishna  Patel" userId="ed2200d0-4eed-40c6-ab36-78bc62005773" providerId="ADAL" clId="{3F3D50BC-FABB-49F1-9EA1-A42C0824C70C}" dt="2025-07-14T10:09:36.807" v="1292" actId="1076"/>
          <ac:cxnSpMkLst>
            <pc:docMk/>
            <pc:sldMk cId="819136857" sldId="2147475574"/>
            <ac:cxnSpMk id="16" creationId="{211EE8F2-8BC5-C160-2601-4C6B819D6AB1}"/>
          </ac:cxnSpMkLst>
        </pc:cxnChg>
        <pc:cxnChg chg="add mod">
          <ac:chgData name="Krishna  Patel" userId="ed2200d0-4eed-40c6-ab36-78bc62005773" providerId="ADAL" clId="{3F3D50BC-FABB-49F1-9EA1-A42C0824C70C}" dt="2025-07-14T10:09:31.344" v="1290"/>
          <ac:cxnSpMkLst>
            <pc:docMk/>
            <pc:sldMk cId="819136857" sldId="2147475574"/>
            <ac:cxnSpMk id="18" creationId="{850CE0DB-B78A-95E4-67F8-A4FA15A45A3C}"/>
          </ac:cxnSpMkLst>
        </pc:cxnChg>
        <pc:cxnChg chg="add mod">
          <ac:chgData name="Krishna  Patel" userId="ed2200d0-4eed-40c6-ab36-78bc62005773" providerId="ADAL" clId="{3F3D50BC-FABB-49F1-9EA1-A42C0824C70C}" dt="2025-07-14T10:09:31.344" v="1290"/>
          <ac:cxnSpMkLst>
            <pc:docMk/>
            <pc:sldMk cId="819136857" sldId="2147475574"/>
            <ac:cxnSpMk id="19" creationId="{36BC9C76-389B-6968-C37B-35FF7E1447BE}"/>
          </ac:cxnSpMkLst>
        </pc:cxnChg>
      </pc:sldChg>
      <pc:sldChg chg="modSp mod modAnim">
        <pc:chgData name="Krishna  Patel" userId="ed2200d0-4eed-40c6-ab36-78bc62005773" providerId="ADAL" clId="{3F3D50BC-FABB-49F1-9EA1-A42C0824C70C}" dt="2025-07-14T10:23:33.336" v="1390"/>
        <pc:sldMkLst>
          <pc:docMk/>
          <pc:sldMk cId="431090626" sldId="2147475575"/>
        </pc:sldMkLst>
        <pc:spChg chg="mod">
          <ac:chgData name="Krishna  Patel" userId="ed2200d0-4eed-40c6-ab36-78bc62005773" providerId="ADAL" clId="{3F3D50BC-FABB-49F1-9EA1-A42C0824C70C}" dt="2025-07-14T10:23:33.336" v="1390"/>
          <ac:spMkLst>
            <pc:docMk/>
            <pc:sldMk cId="431090626" sldId="2147475575"/>
            <ac:spMk id="5" creationId="{887A74D9-2EA8-A2BB-9937-275ADC9DDE68}"/>
          </ac:spMkLst>
        </pc:spChg>
        <pc:spChg chg="mod">
          <ac:chgData name="Krishna  Patel" userId="ed2200d0-4eed-40c6-ab36-78bc62005773" providerId="ADAL" clId="{3F3D50BC-FABB-49F1-9EA1-A42C0824C70C}" dt="2025-07-14T09:02:53.464" v="800" actId="1036"/>
          <ac:spMkLst>
            <pc:docMk/>
            <pc:sldMk cId="431090626" sldId="2147475575"/>
            <ac:spMk id="13" creationId="{2033E759-ABC1-6C56-FD39-2C458E41257E}"/>
          </ac:spMkLst>
        </pc:spChg>
        <pc:picChg chg="mod">
          <ac:chgData name="Krishna  Patel" userId="ed2200d0-4eed-40c6-ab36-78bc62005773" providerId="ADAL" clId="{3F3D50BC-FABB-49F1-9EA1-A42C0824C70C}" dt="2025-07-14T09:03:26.337" v="809" actId="1076"/>
          <ac:picMkLst>
            <pc:docMk/>
            <pc:sldMk cId="431090626" sldId="2147475575"/>
            <ac:picMk id="15" creationId="{530DFCB9-55B9-2993-0DD0-F3A54BB5E31C}"/>
          </ac:picMkLst>
        </pc:picChg>
      </pc:sldChg>
      <pc:sldChg chg="modSp mod modAnim">
        <pc:chgData name="Krishna  Patel" userId="ed2200d0-4eed-40c6-ab36-78bc62005773" providerId="ADAL" clId="{3F3D50BC-FABB-49F1-9EA1-A42C0824C70C}" dt="2025-07-14T10:23:50.033" v="1394"/>
        <pc:sldMkLst>
          <pc:docMk/>
          <pc:sldMk cId="3779621820" sldId="2147475576"/>
        </pc:sldMkLst>
        <pc:spChg chg="mod">
          <ac:chgData name="Krishna  Patel" userId="ed2200d0-4eed-40c6-ab36-78bc62005773" providerId="ADAL" clId="{3F3D50BC-FABB-49F1-9EA1-A42C0824C70C}" dt="2025-07-14T09:04:22.437" v="837" actId="1035"/>
          <ac:spMkLst>
            <pc:docMk/>
            <pc:sldMk cId="3779621820" sldId="2147475576"/>
            <ac:spMk id="3" creationId="{10C843BA-F676-A39D-66B2-5B25C78F6458}"/>
          </ac:spMkLst>
        </pc:spChg>
        <pc:spChg chg="mod">
          <ac:chgData name="Krishna  Patel" userId="ed2200d0-4eed-40c6-ab36-78bc62005773" providerId="ADAL" clId="{3F3D50BC-FABB-49F1-9EA1-A42C0824C70C}" dt="2025-07-14T10:23:50.033" v="1394"/>
          <ac:spMkLst>
            <pc:docMk/>
            <pc:sldMk cId="3779621820" sldId="2147475576"/>
            <ac:spMk id="5" creationId="{4429AAA8-3454-AFCB-2103-395F569A0FE4}"/>
          </ac:spMkLst>
        </pc:spChg>
        <pc:picChg chg="mod">
          <ac:chgData name="Krishna  Patel" userId="ed2200d0-4eed-40c6-ab36-78bc62005773" providerId="ADAL" clId="{3F3D50BC-FABB-49F1-9EA1-A42C0824C70C}" dt="2025-07-14T09:15:19.392" v="1012" actId="1035"/>
          <ac:picMkLst>
            <pc:docMk/>
            <pc:sldMk cId="3779621820" sldId="2147475576"/>
            <ac:picMk id="8" creationId="{EFD89FD6-39D0-4C11-9E47-6532EB641670}"/>
          </ac:picMkLst>
        </pc:picChg>
      </pc:sldChg>
      <pc:sldChg chg="modSp mod modAnim">
        <pc:chgData name="Krishna  Patel" userId="ed2200d0-4eed-40c6-ab36-78bc62005773" providerId="ADAL" clId="{3F3D50BC-FABB-49F1-9EA1-A42C0824C70C}" dt="2025-07-14T10:23:35.938" v="1391"/>
        <pc:sldMkLst>
          <pc:docMk/>
          <pc:sldMk cId="1722815681" sldId="2147475580"/>
        </pc:sldMkLst>
        <pc:spChg chg="mod">
          <ac:chgData name="Krishna  Patel" userId="ed2200d0-4eed-40c6-ab36-78bc62005773" providerId="ADAL" clId="{3F3D50BC-FABB-49F1-9EA1-A42C0824C70C}" dt="2025-07-14T10:10:45.107" v="1305" actId="1076"/>
          <ac:spMkLst>
            <pc:docMk/>
            <pc:sldMk cId="1722815681" sldId="2147475580"/>
            <ac:spMk id="2" creationId="{F267725C-13F2-50C9-7FA6-177FD729FBC4}"/>
          </ac:spMkLst>
        </pc:spChg>
        <pc:spChg chg="mod">
          <ac:chgData name="Krishna  Patel" userId="ed2200d0-4eed-40c6-ab36-78bc62005773" providerId="ADAL" clId="{3F3D50BC-FABB-49F1-9EA1-A42C0824C70C}" dt="2025-07-14T09:53:40.494" v="1157" actId="1036"/>
          <ac:spMkLst>
            <pc:docMk/>
            <pc:sldMk cId="1722815681" sldId="2147475580"/>
            <ac:spMk id="3" creationId="{42EA4CF6-866B-B08E-C404-1F8B79779C25}"/>
          </ac:spMkLst>
        </pc:spChg>
        <pc:spChg chg="mod">
          <ac:chgData name="Krishna  Patel" userId="ed2200d0-4eed-40c6-ab36-78bc62005773" providerId="ADAL" clId="{3F3D50BC-FABB-49F1-9EA1-A42C0824C70C}" dt="2025-07-14T10:23:35.938" v="1391"/>
          <ac:spMkLst>
            <pc:docMk/>
            <pc:sldMk cId="1722815681" sldId="2147475580"/>
            <ac:spMk id="5" creationId="{89342E9C-486B-05E3-D61B-040B88ED0F1F}"/>
          </ac:spMkLst>
        </pc:spChg>
        <pc:picChg chg="mod">
          <ac:chgData name="Krishna  Patel" userId="ed2200d0-4eed-40c6-ab36-78bc62005773" providerId="ADAL" clId="{3F3D50BC-FABB-49F1-9EA1-A42C0824C70C}" dt="2025-07-14T09:04:10.704" v="827" actId="1076"/>
          <ac:picMkLst>
            <pc:docMk/>
            <pc:sldMk cId="1722815681" sldId="2147475580"/>
            <ac:picMk id="8" creationId="{645A97CF-8BE9-3D32-6C4F-FCF464BDA6F4}"/>
          </ac:picMkLst>
        </pc:picChg>
      </pc:sldChg>
      <pc:sldChg chg="modSp mod">
        <pc:chgData name="Krishna  Patel" userId="ed2200d0-4eed-40c6-ab36-78bc62005773" providerId="ADAL" clId="{3F3D50BC-FABB-49F1-9EA1-A42C0824C70C}" dt="2025-07-14T10:24:01.085" v="1399"/>
        <pc:sldMkLst>
          <pc:docMk/>
          <pc:sldMk cId="3637270379" sldId="2147475581"/>
        </pc:sldMkLst>
        <pc:spChg chg="mod">
          <ac:chgData name="Krishna  Patel" userId="ed2200d0-4eed-40c6-ab36-78bc62005773" providerId="ADAL" clId="{3F3D50BC-FABB-49F1-9EA1-A42C0824C70C}" dt="2025-07-14T10:24:01.085" v="1399"/>
          <ac:spMkLst>
            <pc:docMk/>
            <pc:sldMk cId="3637270379" sldId="2147475581"/>
            <ac:spMk id="5" creationId="{304B7E28-D779-1316-A882-531A2DC022EA}"/>
          </ac:spMkLst>
        </pc:spChg>
        <pc:spChg chg="mod">
          <ac:chgData name="Krishna  Patel" userId="ed2200d0-4eed-40c6-ab36-78bc62005773" providerId="ADAL" clId="{3F3D50BC-FABB-49F1-9EA1-A42C0824C70C}" dt="2025-07-14T09:05:17.361" v="863" actId="1035"/>
          <ac:spMkLst>
            <pc:docMk/>
            <pc:sldMk cId="3637270379" sldId="2147475581"/>
            <ac:spMk id="10" creationId="{A665F29B-FCAE-8907-5A92-DA49FA24DFFA}"/>
          </ac:spMkLst>
        </pc:spChg>
        <pc:picChg chg="mod">
          <ac:chgData name="Krishna  Patel" userId="ed2200d0-4eed-40c6-ab36-78bc62005773" providerId="ADAL" clId="{3F3D50BC-FABB-49F1-9EA1-A42C0824C70C}" dt="2025-07-14T09:54:02.193" v="1170" actId="1036"/>
          <ac:picMkLst>
            <pc:docMk/>
            <pc:sldMk cId="3637270379" sldId="2147475581"/>
            <ac:picMk id="2" creationId="{6AC86A75-E4E5-81F2-AC6F-FB9FFF364729}"/>
          </ac:picMkLst>
        </pc:picChg>
      </pc:sldChg>
      <pc:sldChg chg="modSp mod modAnim">
        <pc:chgData name="Krishna  Patel" userId="ed2200d0-4eed-40c6-ab36-78bc62005773" providerId="ADAL" clId="{3F3D50BC-FABB-49F1-9EA1-A42C0824C70C}" dt="2025-07-14T10:23:38.024" v="1392"/>
        <pc:sldMkLst>
          <pc:docMk/>
          <pc:sldMk cId="3749925061" sldId="2147475582"/>
        </pc:sldMkLst>
        <pc:spChg chg="mod">
          <ac:chgData name="Krishna  Patel" userId="ed2200d0-4eed-40c6-ab36-78bc62005773" providerId="ADAL" clId="{3F3D50BC-FABB-49F1-9EA1-A42C0824C70C}" dt="2025-07-14T09:03:47.778" v="821" actId="1036"/>
          <ac:spMkLst>
            <pc:docMk/>
            <pc:sldMk cId="3749925061" sldId="2147475582"/>
            <ac:spMk id="3" creationId="{8D8EA821-89B9-AB77-10DE-19EA3A96102D}"/>
          </ac:spMkLst>
        </pc:spChg>
        <pc:spChg chg="mod">
          <ac:chgData name="Krishna  Patel" userId="ed2200d0-4eed-40c6-ab36-78bc62005773" providerId="ADAL" clId="{3F3D50BC-FABB-49F1-9EA1-A42C0824C70C}" dt="2025-07-14T10:23:38.024" v="1392"/>
          <ac:spMkLst>
            <pc:docMk/>
            <pc:sldMk cId="3749925061" sldId="2147475582"/>
            <ac:spMk id="5" creationId="{BEE97C95-E62C-7E8E-89FA-DE2095AFCF19}"/>
          </ac:spMkLst>
        </pc:spChg>
        <pc:picChg chg="mod">
          <ac:chgData name="Krishna  Patel" userId="ed2200d0-4eed-40c6-ab36-78bc62005773" providerId="ADAL" clId="{3F3D50BC-FABB-49F1-9EA1-A42C0824C70C}" dt="2025-07-14T09:15:24.585" v="1016" actId="1036"/>
          <ac:picMkLst>
            <pc:docMk/>
            <pc:sldMk cId="3749925061" sldId="2147475582"/>
            <ac:picMk id="8" creationId="{715F7A7E-6166-C06B-4409-CAC36927CB43}"/>
          </ac:picMkLst>
        </pc:picChg>
      </pc:sldChg>
      <pc:sldChg chg="addSp modSp mod ord">
        <pc:chgData name="Krishna  Patel" userId="ed2200d0-4eed-40c6-ab36-78bc62005773" providerId="ADAL" clId="{3F3D50BC-FABB-49F1-9EA1-A42C0824C70C}" dt="2025-07-14T10:36:27.202" v="1497" actId="1035"/>
        <pc:sldMkLst>
          <pc:docMk/>
          <pc:sldMk cId="1111822000" sldId="2147475584"/>
        </pc:sldMkLst>
      </pc:sldChg>
      <pc:sldChg chg="addSp delSp modSp mod modAnim">
        <pc:chgData name="Krishna  Patel" userId="ed2200d0-4eed-40c6-ab36-78bc62005773" providerId="ADAL" clId="{3F3D50BC-FABB-49F1-9EA1-A42C0824C70C}" dt="2025-07-14T10:15:41.999" v="1348"/>
        <pc:sldMkLst>
          <pc:docMk/>
          <pc:sldMk cId="1096546104" sldId="2147475585"/>
        </pc:sldMkLst>
        <pc:spChg chg="add mod">
          <ac:chgData name="Krishna  Patel" userId="ed2200d0-4eed-40c6-ab36-78bc62005773" providerId="ADAL" clId="{3F3D50BC-FABB-49F1-9EA1-A42C0824C70C}" dt="2025-07-14T10:15:41.999" v="1348"/>
          <ac:spMkLst>
            <pc:docMk/>
            <pc:sldMk cId="1096546104" sldId="2147475585"/>
            <ac:spMk id="2" creationId="{212C571E-CBEB-4D35-C5DE-7B5B762DFA05}"/>
          </ac:spMkLst>
        </pc:spChg>
        <pc:spChg chg="mod">
          <ac:chgData name="Krishna  Patel" userId="ed2200d0-4eed-40c6-ab36-78bc62005773" providerId="ADAL" clId="{3F3D50BC-FABB-49F1-9EA1-A42C0824C70C}" dt="2025-07-14T10:00:22.485" v="1196" actId="20577"/>
          <ac:spMkLst>
            <pc:docMk/>
            <pc:sldMk cId="1096546104" sldId="2147475585"/>
            <ac:spMk id="7" creationId="{0403095C-B1B7-DC04-4598-542BC8C6506A}"/>
          </ac:spMkLst>
        </pc:spChg>
        <pc:spChg chg="add mod">
          <ac:chgData name="Krishna  Patel" userId="ed2200d0-4eed-40c6-ab36-78bc62005773" providerId="ADAL" clId="{3F3D50BC-FABB-49F1-9EA1-A42C0824C70C}" dt="2025-07-14T10:15:41.999" v="1348"/>
          <ac:spMkLst>
            <pc:docMk/>
            <pc:sldMk cId="1096546104" sldId="2147475585"/>
            <ac:spMk id="8" creationId="{45B0889E-0451-E640-B9FA-9A0B8FF82706}"/>
          </ac:spMkLst>
        </pc:spChg>
        <pc:spChg chg="add mod">
          <ac:chgData name="Krishna  Patel" userId="ed2200d0-4eed-40c6-ab36-78bc62005773" providerId="ADAL" clId="{3F3D50BC-FABB-49F1-9EA1-A42C0824C70C}" dt="2025-07-14T10:15:41.999" v="1348"/>
          <ac:spMkLst>
            <pc:docMk/>
            <pc:sldMk cId="1096546104" sldId="2147475585"/>
            <ac:spMk id="9" creationId="{55D39824-A329-8F03-44A9-8008D618F1E0}"/>
          </ac:spMkLst>
        </pc:spChg>
        <pc:picChg chg="mod">
          <ac:chgData name="Krishna  Patel" userId="ed2200d0-4eed-40c6-ab36-78bc62005773" providerId="ADAL" clId="{3F3D50BC-FABB-49F1-9EA1-A42C0824C70C}" dt="2025-07-14T07:47:47.201" v="213" actId="1035"/>
          <ac:picMkLst>
            <pc:docMk/>
            <pc:sldMk cId="1096546104" sldId="2147475585"/>
            <ac:picMk id="12" creationId="{80EF63C1-F1FD-E8E7-656E-82BCDE253460}"/>
          </ac:picMkLst>
        </pc:picChg>
      </pc:sldChg>
      <pc:sldChg chg="addSp delSp modSp mod modAnim">
        <pc:chgData name="Krishna  Patel" userId="ed2200d0-4eed-40c6-ab36-78bc62005773" providerId="ADAL" clId="{3F3D50BC-FABB-49F1-9EA1-A42C0824C70C}" dt="2025-07-14T10:15:36.248" v="1346"/>
        <pc:sldMkLst>
          <pc:docMk/>
          <pc:sldMk cId="4274373587" sldId="2147475586"/>
        </pc:sldMkLst>
        <pc:spChg chg="add mod">
          <ac:chgData name="Krishna  Patel" userId="ed2200d0-4eed-40c6-ab36-78bc62005773" providerId="ADAL" clId="{3F3D50BC-FABB-49F1-9EA1-A42C0824C70C}" dt="2025-07-14T10:15:36.248" v="1346"/>
          <ac:spMkLst>
            <pc:docMk/>
            <pc:sldMk cId="4274373587" sldId="2147475586"/>
            <ac:spMk id="2" creationId="{A8A5089E-1B45-AC57-70F6-9C56E2805555}"/>
          </ac:spMkLst>
        </pc:spChg>
        <pc:spChg chg="mod">
          <ac:chgData name="Krishna  Patel" userId="ed2200d0-4eed-40c6-ab36-78bc62005773" providerId="ADAL" clId="{3F3D50BC-FABB-49F1-9EA1-A42C0824C70C}" dt="2025-07-14T07:45:45.769" v="176" actId="1035"/>
          <ac:spMkLst>
            <pc:docMk/>
            <pc:sldMk cId="4274373587" sldId="2147475586"/>
            <ac:spMk id="7" creationId="{5639DBF3-EF76-DF94-FC8D-3C2EDF48F97F}"/>
          </ac:spMkLst>
        </pc:spChg>
        <pc:spChg chg="add mod">
          <ac:chgData name="Krishna  Patel" userId="ed2200d0-4eed-40c6-ab36-78bc62005773" providerId="ADAL" clId="{3F3D50BC-FABB-49F1-9EA1-A42C0824C70C}" dt="2025-07-14T10:15:36.248" v="1346"/>
          <ac:spMkLst>
            <pc:docMk/>
            <pc:sldMk cId="4274373587" sldId="2147475586"/>
            <ac:spMk id="8" creationId="{DE3933BC-F028-D8D6-EBA9-C21F34C64854}"/>
          </ac:spMkLst>
        </pc:spChg>
        <pc:spChg chg="add mod">
          <ac:chgData name="Krishna  Patel" userId="ed2200d0-4eed-40c6-ab36-78bc62005773" providerId="ADAL" clId="{3F3D50BC-FABB-49F1-9EA1-A42C0824C70C}" dt="2025-07-14T10:15:36.248" v="1346"/>
          <ac:spMkLst>
            <pc:docMk/>
            <pc:sldMk cId="4274373587" sldId="2147475586"/>
            <ac:spMk id="10" creationId="{38FD9AE2-FE1D-A0AC-CF64-D593EC7E3DF7}"/>
          </ac:spMkLst>
        </pc:spChg>
        <pc:picChg chg="mod">
          <ac:chgData name="Krishna  Patel" userId="ed2200d0-4eed-40c6-ab36-78bc62005773" providerId="ADAL" clId="{3F3D50BC-FABB-49F1-9EA1-A42C0824C70C}" dt="2025-07-14T07:47:41.381" v="184" actId="1035"/>
          <ac:picMkLst>
            <pc:docMk/>
            <pc:sldMk cId="4274373587" sldId="2147475586"/>
            <ac:picMk id="9" creationId="{5C785AEA-D432-7A0A-66D6-D4B4B74A0070}"/>
          </ac:picMkLst>
        </pc:picChg>
      </pc:sldChg>
      <pc:sldChg chg="modSp mod modAnim">
        <pc:chgData name="Krishna  Patel" userId="ed2200d0-4eed-40c6-ab36-78bc62005773" providerId="ADAL" clId="{3F3D50BC-FABB-49F1-9EA1-A42C0824C70C}" dt="2025-07-14T10:23:58.663" v="1398"/>
        <pc:sldMkLst>
          <pc:docMk/>
          <pc:sldMk cId="3490202487" sldId="2147475587"/>
        </pc:sldMkLst>
        <pc:spChg chg="mod">
          <ac:chgData name="Krishna  Patel" userId="ed2200d0-4eed-40c6-ab36-78bc62005773" providerId="ADAL" clId="{3F3D50BC-FABB-49F1-9EA1-A42C0824C70C}" dt="2025-07-14T10:23:58.663" v="1398"/>
          <ac:spMkLst>
            <pc:docMk/>
            <pc:sldMk cId="3490202487" sldId="2147475587"/>
            <ac:spMk id="5" creationId="{9EFFB710-4223-EAEB-5E7A-D1434258DC94}"/>
          </ac:spMkLst>
        </pc:spChg>
        <pc:spChg chg="mod">
          <ac:chgData name="Krishna  Patel" userId="ed2200d0-4eed-40c6-ab36-78bc62005773" providerId="ADAL" clId="{3F3D50BC-FABB-49F1-9EA1-A42C0824C70C}" dt="2025-07-14T09:14:55.885" v="1010" actId="1035"/>
          <ac:spMkLst>
            <pc:docMk/>
            <pc:sldMk cId="3490202487" sldId="2147475587"/>
            <ac:spMk id="9" creationId="{1B7D17C5-383A-DA42-052C-1CAC4F90A884}"/>
          </ac:spMkLst>
        </pc:spChg>
      </pc:sldChg>
      <pc:sldChg chg="addSp modSp mod modAnim">
        <pc:chgData name="Krishna  Patel" userId="ed2200d0-4eed-40c6-ab36-78bc62005773" providerId="ADAL" clId="{3F3D50BC-FABB-49F1-9EA1-A42C0824C70C}" dt="2025-07-14T10:23:56.620" v="1397"/>
        <pc:sldMkLst>
          <pc:docMk/>
          <pc:sldMk cId="1785137266" sldId="2147475588"/>
        </pc:sldMkLst>
        <pc:spChg chg="mod">
          <ac:chgData name="Krishna  Patel" userId="ed2200d0-4eed-40c6-ab36-78bc62005773" providerId="ADAL" clId="{3F3D50BC-FABB-49F1-9EA1-A42C0824C70C}" dt="2025-07-14T09:14:45.717" v="994" actId="1035"/>
          <ac:spMkLst>
            <pc:docMk/>
            <pc:sldMk cId="1785137266" sldId="2147475588"/>
            <ac:spMk id="3" creationId="{CE0BA942-6849-777B-C33D-01CCEED6CC6D}"/>
          </ac:spMkLst>
        </pc:spChg>
        <pc:spChg chg="mod">
          <ac:chgData name="Krishna  Patel" userId="ed2200d0-4eed-40c6-ab36-78bc62005773" providerId="ADAL" clId="{3F3D50BC-FABB-49F1-9EA1-A42C0824C70C}" dt="2025-07-14T10:23:56.620" v="1397"/>
          <ac:spMkLst>
            <pc:docMk/>
            <pc:sldMk cId="1785137266" sldId="2147475588"/>
            <ac:spMk id="5" creationId="{446364D9-281D-EAC3-8BBB-5D4D8DFD7FA6}"/>
          </ac:spMkLst>
        </pc:spChg>
      </pc:sldChg>
      <pc:sldChg chg="addSp delSp modSp mod modAnim">
        <pc:chgData name="Krishna  Patel" userId="ed2200d0-4eed-40c6-ab36-78bc62005773" providerId="ADAL" clId="{3F3D50BC-FABB-49F1-9EA1-A42C0824C70C}" dt="2025-07-14T10:18:00.688" v="1364"/>
        <pc:sldMkLst>
          <pc:docMk/>
          <pc:sldMk cId="99802855" sldId="2147475589"/>
        </pc:sldMkLst>
        <pc:spChg chg="mod">
          <ac:chgData name="Krishna  Patel" userId="ed2200d0-4eed-40c6-ab36-78bc62005773" providerId="ADAL" clId="{3F3D50BC-FABB-49F1-9EA1-A42C0824C70C}" dt="2025-07-14T08:55:36.263" v="697" actId="2711"/>
          <ac:spMkLst>
            <pc:docMk/>
            <pc:sldMk cId="99802855" sldId="2147475589"/>
            <ac:spMk id="2" creationId="{A6DF3F2C-C989-95FB-7928-41A3F56B9FA0}"/>
          </ac:spMkLst>
        </pc:spChg>
        <pc:spChg chg="mod">
          <ac:chgData name="Krishna  Patel" userId="ed2200d0-4eed-40c6-ab36-78bc62005773" providerId="ADAL" clId="{3F3D50BC-FABB-49F1-9EA1-A42C0824C70C}" dt="2025-07-14T08:55:54.337" v="698" actId="14100"/>
          <ac:spMkLst>
            <pc:docMk/>
            <pc:sldMk cId="99802855" sldId="2147475589"/>
            <ac:spMk id="7" creationId="{C5509587-19D6-2055-B635-1533B1BCE4E9}"/>
          </ac:spMkLst>
        </pc:spChg>
        <pc:spChg chg="add mod">
          <ac:chgData name="Krishna  Patel" userId="ed2200d0-4eed-40c6-ab36-78bc62005773" providerId="ADAL" clId="{3F3D50BC-FABB-49F1-9EA1-A42C0824C70C}" dt="2025-07-14T10:18:00.688" v="1364"/>
          <ac:spMkLst>
            <pc:docMk/>
            <pc:sldMk cId="99802855" sldId="2147475589"/>
            <ac:spMk id="14" creationId="{9D2497B1-3570-5D4C-D12D-DB9631F4D007}"/>
          </ac:spMkLst>
        </pc:spChg>
        <pc:spChg chg="add mod">
          <ac:chgData name="Krishna  Patel" userId="ed2200d0-4eed-40c6-ab36-78bc62005773" providerId="ADAL" clId="{3F3D50BC-FABB-49F1-9EA1-A42C0824C70C}" dt="2025-07-14T10:18:00.688" v="1364"/>
          <ac:spMkLst>
            <pc:docMk/>
            <pc:sldMk cId="99802855" sldId="2147475589"/>
            <ac:spMk id="15" creationId="{1EB1FAC1-5B2E-E1F2-1D50-F0CAE1529C49}"/>
          </ac:spMkLst>
        </pc:spChg>
        <pc:spChg chg="add mod">
          <ac:chgData name="Krishna  Patel" userId="ed2200d0-4eed-40c6-ab36-78bc62005773" providerId="ADAL" clId="{3F3D50BC-FABB-49F1-9EA1-A42C0824C70C}" dt="2025-07-14T10:18:00.688" v="1364"/>
          <ac:spMkLst>
            <pc:docMk/>
            <pc:sldMk cId="99802855" sldId="2147475589"/>
            <ac:spMk id="16" creationId="{62EED650-A354-EF42-8967-E62BBE2DDB33}"/>
          </ac:spMkLst>
        </pc:spChg>
        <pc:picChg chg="add mod modCrop">
          <ac:chgData name="Krishna  Patel" userId="ed2200d0-4eed-40c6-ab36-78bc62005773" providerId="ADAL" clId="{3F3D50BC-FABB-49F1-9EA1-A42C0824C70C}" dt="2025-07-14T09:52:49.809" v="1154" actId="1076"/>
          <ac:picMkLst>
            <pc:docMk/>
            <pc:sldMk cId="99802855" sldId="2147475589"/>
            <ac:picMk id="13" creationId="{29359326-5647-CD95-8074-568237CB624D}"/>
          </ac:picMkLst>
        </pc:picChg>
      </pc:sldChg>
      <pc:sldChg chg="modSp mod modAnim">
        <pc:chgData name="Krishna  Patel" userId="ed2200d0-4eed-40c6-ab36-78bc62005773" providerId="ADAL" clId="{3F3D50BC-FABB-49F1-9EA1-A42C0824C70C}" dt="2025-07-14T10:23:40.361" v="1393"/>
        <pc:sldMkLst>
          <pc:docMk/>
          <pc:sldMk cId="3162560195" sldId="2147475592"/>
        </pc:sldMkLst>
        <pc:spChg chg="mod">
          <ac:chgData name="Krishna  Patel" userId="ed2200d0-4eed-40c6-ab36-78bc62005773" providerId="ADAL" clId="{3F3D50BC-FABB-49F1-9EA1-A42C0824C70C}" dt="2025-07-14T10:11:01.388" v="1309" actId="1076"/>
          <ac:spMkLst>
            <pc:docMk/>
            <pc:sldMk cId="3162560195" sldId="2147475592"/>
            <ac:spMk id="2" creationId="{8A809375-EBB2-77CE-954B-CEC78CE2E4EA}"/>
          </ac:spMkLst>
        </pc:spChg>
        <pc:spChg chg="mod">
          <ac:chgData name="Krishna  Patel" userId="ed2200d0-4eed-40c6-ab36-78bc62005773" providerId="ADAL" clId="{3F3D50BC-FABB-49F1-9EA1-A42C0824C70C}" dt="2025-07-14T09:03:56.454" v="825" actId="1036"/>
          <ac:spMkLst>
            <pc:docMk/>
            <pc:sldMk cId="3162560195" sldId="2147475592"/>
            <ac:spMk id="3" creationId="{593A5E11-5A32-03D2-0BFE-1131D39DA662}"/>
          </ac:spMkLst>
        </pc:spChg>
        <pc:spChg chg="mod">
          <ac:chgData name="Krishna  Patel" userId="ed2200d0-4eed-40c6-ab36-78bc62005773" providerId="ADAL" clId="{3F3D50BC-FABB-49F1-9EA1-A42C0824C70C}" dt="2025-07-14T10:23:40.361" v="1393"/>
          <ac:spMkLst>
            <pc:docMk/>
            <pc:sldMk cId="3162560195" sldId="2147475592"/>
            <ac:spMk id="5" creationId="{4B9E0A5F-E60D-045B-1B4E-CB4EA2C7C6E4}"/>
          </ac:spMkLst>
        </pc:spChg>
        <pc:picChg chg="mod">
          <ac:chgData name="Krishna  Patel" userId="ed2200d0-4eed-40c6-ab36-78bc62005773" providerId="ADAL" clId="{3F3D50BC-FABB-49F1-9EA1-A42C0824C70C}" dt="2025-07-14T09:15:22.073" v="1014" actId="1036"/>
          <ac:picMkLst>
            <pc:docMk/>
            <pc:sldMk cId="3162560195" sldId="2147475592"/>
            <ac:picMk id="8" creationId="{B06A2712-EEDA-B437-F200-E1535916F848}"/>
          </ac:picMkLst>
        </pc:picChg>
      </pc:sldChg>
      <pc:sldChg chg="addSp delSp modSp mod">
        <pc:chgData name="Krishna  Patel" userId="ed2200d0-4eed-40c6-ab36-78bc62005773" providerId="ADAL" clId="{3F3D50BC-FABB-49F1-9EA1-A42C0824C70C}" dt="2025-07-14T10:23:18.427" v="1387"/>
        <pc:sldMkLst>
          <pc:docMk/>
          <pc:sldMk cId="2709833254" sldId="2147475593"/>
        </pc:sldMkLst>
        <pc:spChg chg="add del">
          <ac:chgData name="Krishna  Patel" userId="ed2200d0-4eed-40c6-ab36-78bc62005773" providerId="ADAL" clId="{3F3D50BC-FABB-49F1-9EA1-A42C0824C70C}" dt="2025-07-14T10:23:13.065" v="1386" actId="478"/>
          <ac:spMkLst>
            <pc:docMk/>
            <pc:sldMk cId="2709833254" sldId="2147475593"/>
            <ac:spMk id="4" creationId="{5D6175E4-E586-3476-294C-37736BDD5034}"/>
          </ac:spMkLst>
        </pc:spChg>
        <pc:spChg chg="add del mod">
          <ac:chgData name="Krishna  Patel" userId="ed2200d0-4eed-40c6-ab36-78bc62005773" providerId="ADAL" clId="{3F3D50BC-FABB-49F1-9EA1-A42C0824C70C}" dt="2025-07-14T10:23:18.427" v="1387"/>
          <ac:spMkLst>
            <pc:docMk/>
            <pc:sldMk cId="2709833254" sldId="2147475593"/>
            <ac:spMk id="5" creationId="{3891ADE6-D647-5587-8909-37358EE3D3C4}"/>
          </ac:spMkLst>
        </pc:spChg>
        <pc:spChg chg="add del">
          <ac:chgData name="Krishna  Patel" userId="ed2200d0-4eed-40c6-ab36-78bc62005773" providerId="ADAL" clId="{3F3D50BC-FABB-49F1-9EA1-A42C0824C70C}" dt="2025-07-14T10:23:13.065" v="1386" actId="478"/>
          <ac:spMkLst>
            <pc:docMk/>
            <pc:sldMk cId="2709833254" sldId="2147475593"/>
            <ac:spMk id="6" creationId="{9DD5AAFF-C09A-027F-867E-9CE653A7D346}"/>
          </ac:spMkLst>
        </pc:spChg>
        <pc:graphicFrameChg chg="add mod modGraphic">
          <ac:chgData name="Krishna  Patel" userId="ed2200d0-4eed-40c6-ab36-78bc62005773" providerId="ADAL" clId="{3F3D50BC-FABB-49F1-9EA1-A42C0824C70C}" dt="2025-07-14T08:59:41.544" v="777" actId="1035"/>
          <ac:graphicFrameMkLst>
            <pc:docMk/>
            <pc:sldMk cId="2709833254" sldId="2147475593"/>
            <ac:graphicFrameMk id="2" creationId="{8F38C267-0E5A-2319-235C-0BA1A2D0D649}"/>
          </ac:graphicFrameMkLst>
        </pc:graphicFrameChg>
        <pc:picChg chg="mod">
          <ac:chgData name="Krishna  Patel" userId="ed2200d0-4eed-40c6-ab36-78bc62005773" providerId="ADAL" clId="{3F3D50BC-FABB-49F1-9EA1-A42C0824C70C}" dt="2025-07-14T08:58:51.284" v="760" actId="1036"/>
          <ac:picMkLst>
            <pc:docMk/>
            <pc:sldMk cId="2709833254" sldId="2147475593"/>
            <ac:picMk id="8" creationId="{33731F8C-EB38-2C33-A7B5-2DF02956B49A}"/>
          </ac:picMkLst>
        </pc:picChg>
      </pc:sldChg>
      <pc:sldChg chg="new del">
        <pc:chgData name="Krishna  Patel" userId="ed2200d0-4eed-40c6-ab36-78bc62005773" providerId="ADAL" clId="{3F3D50BC-FABB-49F1-9EA1-A42C0824C70C}" dt="2025-07-14T07:49:50.261" v="233" actId="680"/>
        <pc:sldMkLst>
          <pc:docMk/>
          <pc:sldMk cId="1438227856" sldId="2147475594"/>
        </pc:sldMkLst>
      </pc:sldChg>
      <pc:sldChg chg="addSp delSp modSp new mod modAnim">
        <pc:chgData name="Krishna  Patel" userId="ed2200d0-4eed-40c6-ab36-78bc62005773" providerId="ADAL" clId="{3F3D50BC-FABB-49F1-9EA1-A42C0824C70C}" dt="2025-07-14T10:16:52.918" v="1356"/>
        <pc:sldMkLst>
          <pc:docMk/>
          <pc:sldMk cId="2666338703" sldId="2147475594"/>
        </pc:sldMkLst>
        <pc:spChg chg="mod">
          <ac:chgData name="Krishna  Patel" userId="ed2200d0-4eed-40c6-ab36-78bc62005773" providerId="ADAL" clId="{3F3D50BC-FABB-49F1-9EA1-A42C0824C70C}" dt="2025-07-14T07:50:20.724" v="238" actId="113"/>
          <ac:spMkLst>
            <pc:docMk/>
            <pc:sldMk cId="2666338703" sldId="2147475594"/>
            <ac:spMk id="2" creationId="{874B359A-3923-621D-3DA9-8592A3A1AC37}"/>
          </ac:spMkLst>
        </pc:spChg>
        <pc:spChg chg="add mod">
          <ac:chgData name="Krishna  Patel" userId="ed2200d0-4eed-40c6-ab36-78bc62005773" providerId="ADAL" clId="{3F3D50BC-FABB-49F1-9EA1-A42C0824C70C}" dt="2025-07-14T07:51:43.630" v="258" actId="1037"/>
          <ac:spMkLst>
            <pc:docMk/>
            <pc:sldMk cId="2666338703" sldId="2147475594"/>
            <ac:spMk id="8" creationId="{B48FE2D2-92FA-EC68-2A15-200633559891}"/>
          </ac:spMkLst>
        </pc:spChg>
        <pc:spChg chg="mod topLvl">
          <ac:chgData name="Krishna  Patel" userId="ed2200d0-4eed-40c6-ab36-78bc62005773" providerId="ADAL" clId="{3F3D50BC-FABB-49F1-9EA1-A42C0824C70C}" dt="2025-07-14T08:39:20.911" v="439" actId="1036"/>
          <ac:spMkLst>
            <pc:docMk/>
            <pc:sldMk cId="2666338703" sldId="2147475594"/>
            <ac:spMk id="10" creationId="{A03264A2-BE34-FF1C-2B03-BAF2CE9E0843}"/>
          </ac:spMkLst>
        </pc:spChg>
        <pc:spChg chg="mod topLvl">
          <ac:chgData name="Krishna  Patel" userId="ed2200d0-4eed-40c6-ab36-78bc62005773" providerId="ADAL" clId="{3F3D50BC-FABB-49F1-9EA1-A42C0824C70C}" dt="2025-07-14T10:06:45.538" v="1261" actId="20577"/>
          <ac:spMkLst>
            <pc:docMk/>
            <pc:sldMk cId="2666338703" sldId="2147475594"/>
            <ac:spMk id="11" creationId="{2E5CF866-A5B5-AE5C-47EB-525D2E8C4B95}"/>
          </ac:spMkLst>
        </pc:spChg>
        <pc:spChg chg="mod topLvl">
          <ac:chgData name="Krishna  Patel" userId="ed2200d0-4eed-40c6-ab36-78bc62005773" providerId="ADAL" clId="{3F3D50BC-FABB-49F1-9EA1-A42C0824C70C}" dt="2025-07-14T10:06:45.538" v="1261" actId="20577"/>
          <ac:spMkLst>
            <pc:docMk/>
            <pc:sldMk cId="2666338703" sldId="2147475594"/>
            <ac:spMk id="12" creationId="{0DE8E195-6A76-233D-93D5-9F6EB7A0FF6D}"/>
          </ac:spMkLst>
        </pc:spChg>
        <pc:spChg chg="mod topLvl">
          <ac:chgData name="Krishna  Patel" userId="ed2200d0-4eed-40c6-ab36-78bc62005773" providerId="ADAL" clId="{3F3D50BC-FABB-49F1-9EA1-A42C0824C70C}" dt="2025-07-14T10:06:47.453" v="1262" actId="20577"/>
          <ac:spMkLst>
            <pc:docMk/>
            <pc:sldMk cId="2666338703" sldId="2147475594"/>
            <ac:spMk id="14" creationId="{6D9A65B2-1ED2-DAC7-216D-C2797FD60E7E}"/>
          </ac:spMkLst>
        </pc:spChg>
        <pc:spChg chg="mod topLvl">
          <ac:chgData name="Krishna  Patel" userId="ed2200d0-4eed-40c6-ab36-78bc62005773" providerId="ADAL" clId="{3F3D50BC-FABB-49F1-9EA1-A42C0824C70C}" dt="2025-07-14T10:06:47.453" v="1262" actId="20577"/>
          <ac:spMkLst>
            <pc:docMk/>
            <pc:sldMk cId="2666338703" sldId="2147475594"/>
            <ac:spMk id="15" creationId="{01942988-B6B5-B1A7-7EE3-AF701080E4C0}"/>
          </ac:spMkLst>
        </pc:spChg>
        <pc:spChg chg="mod topLvl">
          <ac:chgData name="Krishna  Patel" userId="ed2200d0-4eed-40c6-ab36-78bc62005773" providerId="ADAL" clId="{3F3D50BC-FABB-49F1-9EA1-A42C0824C70C}" dt="2025-07-14T10:06:48.726" v="1263" actId="20577"/>
          <ac:spMkLst>
            <pc:docMk/>
            <pc:sldMk cId="2666338703" sldId="2147475594"/>
            <ac:spMk id="17" creationId="{DCC17065-EE9E-F4CE-CD32-AE797C36CFDE}"/>
          </ac:spMkLst>
        </pc:spChg>
        <pc:spChg chg="mod topLvl">
          <ac:chgData name="Krishna  Patel" userId="ed2200d0-4eed-40c6-ab36-78bc62005773" providerId="ADAL" clId="{3F3D50BC-FABB-49F1-9EA1-A42C0824C70C}" dt="2025-07-14T10:06:48.726" v="1263" actId="20577"/>
          <ac:spMkLst>
            <pc:docMk/>
            <pc:sldMk cId="2666338703" sldId="2147475594"/>
            <ac:spMk id="18" creationId="{5CD41081-2891-2E35-23EA-80EDCF0F3707}"/>
          </ac:spMkLst>
        </pc:spChg>
        <pc:spChg chg="add mod">
          <ac:chgData name="Krishna  Patel" userId="ed2200d0-4eed-40c6-ab36-78bc62005773" providerId="ADAL" clId="{3F3D50BC-FABB-49F1-9EA1-A42C0824C70C}" dt="2025-07-14T10:06:45.538" v="1261" actId="20577"/>
          <ac:spMkLst>
            <pc:docMk/>
            <pc:sldMk cId="2666338703" sldId="2147475594"/>
            <ac:spMk id="21" creationId="{492DACE9-C796-8B17-F774-E42EC6DC0E92}"/>
          </ac:spMkLst>
        </pc:spChg>
        <pc:spChg chg="add mod">
          <ac:chgData name="Krishna  Patel" userId="ed2200d0-4eed-40c6-ab36-78bc62005773" providerId="ADAL" clId="{3F3D50BC-FABB-49F1-9EA1-A42C0824C70C}" dt="2025-07-14T10:06:47.453" v="1262" actId="20577"/>
          <ac:spMkLst>
            <pc:docMk/>
            <pc:sldMk cId="2666338703" sldId="2147475594"/>
            <ac:spMk id="23" creationId="{75FE2E52-6A56-037A-A02B-62F966C0F8F9}"/>
          </ac:spMkLst>
        </pc:spChg>
        <pc:spChg chg="add mod">
          <ac:chgData name="Krishna  Patel" userId="ed2200d0-4eed-40c6-ab36-78bc62005773" providerId="ADAL" clId="{3F3D50BC-FABB-49F1-9EA1-A42C0824C70C}" dt="2025-07-14T10:06:48.726" v="1263" actId="20577"/>
          <ac:spMkLst>
            <pc:docMk/>
            <pc:sldMk cId="2666338703" sldId="2147475594"/>
            <ac:spMk id="25" creationId="{484D9043-D0E1-51BA-4F5E-ABA78E24E486}"/>
          </ac:spMkLst>
        </pc:spChg>
        <pc:spChg chg="add mod">
          <ac:chgData name="Krishna  Patel" userId="ed2200d0-4eed-40c6-ab36-78bc62005773" providerId="ADAL" clId="{3F3D50BC-FABB-49F1-9EA1-A42C0824C70C}" dt="2025-07-14T10:16:52.918" v="1356"/>
          <ac:spMkLst>
            <pc:docMk/>
            <pc:sldMk cId="2666338703" sldId="2147475594"/>
            <ac:spMk id="32" creationId="{C207F9D4-2145-3ADB-603D-D8E60B077DCA}"/>
          </ac:spMkLst>
        </pc:spChg>
        <pc:spChg chg="add mod">
          <ac:chgData name="Krishna  Patel" userId="ed2200d0-4eed-40c6-ab36-78bc62005773" providerId="ADAL" clId="{3F3D50BC-FABB-49F1-9EA1-A42C0824C70C}" dt="2025-07-14T10:16:52.918" v="1356"/>
          <ac:spMkLst>
            <pc:docMk/>
            <pc:sldMk cId="2666338703" sldId="2147475594"/>
            <ac:spMk id="33" creationId="{D0BFF815-EBD9-2FAB-3881-437ABEFCEDCE}"/>
          </ac:spMkLst>
        </pc:spChg>
        <pc:spChg chg="add mod">
          <ac:chgData name="Krishna  Patel" userId="ed2200d0-4eed-40c6-ab36-78bc62005773" providerId="ADAL" clId="{3F3D50BC-FABB-49F1-9EA1-A42C0824C70C}" dt="2025-07-14T10:16:52.918" v="1356"/>
          <ac:spMkLst>
            <pc:docMk/>
            <pc:sldMk cId="2666338703" sldId="2147475594"/>
            <ac:spMk id="34" creationId="{E424E1C1-9435-B4C7-3B45-6D0F77D02ED9}"/>
          </ac:spMkLst>
        </pc:spChg>
        <pc:grpChg chg="add mod">
          <ac:chgData name="Krishna  Patel" userId="ed2200d0-4eed-40c6-ab36-78bc62005773" providerId="ADAL" clId="{3F3D50BC-FABB-49F1-9EA1-A42C0824C70C}" dt="2025-07-14T10:06:45.538" v="1261" actId="20577"/>
          <ac:grpSpMkLst>
            <pc:docMk/>
            <pc:sldMk cId="2666338703" sldId="2147475594"/>
            <ac:grpSpMk id="26" creationId="{49AFE4EA-D0A6-0689-EF0E-2DAD99E4109A}"/>
          </ac:grpSpMkLst>
        </pc:grpChg>
        <pc:grpChg chg="add mod">
          <ac:chgData name="Krishna  Patel" userId="ed2200d0-4eed-40c6-ab36-78bc62005773" providerId="ADAL" clId="{3F3D50BC-FABB-49F1-9EA1-A42C0824C70C}" dt="2025-07-14T10:06:47.453" v="1262" actId="20577"/>
          <ac:grpSpMkLst>
            <pc:docMk/>
            <pc:sldMk cId="2666338703" sldId="2147475594"/>
            <ac:grpSpMk id="27" creationId="{7166D55D-08EB-E136-1482-59BF6B84B209}"/>
          </ac:grpSpMkLst>
        </pc:grpChg>
        <pc:grpChg chg="add mod">
          <ac:chgData name="Krishna  Patel" userId="ed2200d0-4eed-40c6-ab36-78bc62005773" providerId="ADAL" clId="{3F3D50BC-FABB-49F1-9EA1-A42C0824C70C}" dt="2025-07-14T10:06:48.726" v="1263" actId="20577"/>
          <ac:grpSpMkLst>
            <pc:docMk/>
            <pc:sldMk cId="2666338703" sldId="2147475594"/>
            <ac:grpSpMk id="28" creationId="{960249C2-F16F-4F77-AD2C-38AC88B93D54}"/>
          </ac:grpSpMkLst>
        </pc:grpChg>
        <pc:grpChg chg="add mod">
          <ac:chgData name="Krishna  Patel" userId="ed2200d0-4eed-40c6-ab36-78bc62005773" providerId="ADAL" clId="{3F3D50BC-FABB-49F1-9EA1-A42C0824C70C}" dt="2025-07-14T10:06:45.538" v="1261" actId="20577"/>
          <ac:grpSpMkLst>
            <pc:docMk/>
            <pc:sldMk cId="2666338703" sldId="2147475594"/>
            <ac:grpSpMk id="29" creationId="{53A4C6F9-15A8-6BE5-44A5-8ABDC7A31094}"/>
          </ac:grpSpMkLst>
        </pc:grpChg>
        <pc:grpChg chg="add mod">
          <ac:chgData name="Krishna  Patel" userId="ed2200d0-4eed-40c6-ab36-78bc62005773" providerId="ADAL" clId="{3F3D50BC-FABB-49F1-9EA1-A42C0824C70C}" dt="2025-07-14T10:06:47.453" v="1262" actId="20577"/>
          <ac:grpSpMkLst>
            <pc:docMk/>
            <pc:sldMk cId="2666338703" sldId="2147475594"/>
            <ac:grpSpMk id="30" creationId="{71B6457B-6083-B4C3-FA16-D7A2BC6F432D}"/>
          </ac:grpSpMkLst>
        </pc:grpChg>
        <pc:grpChg chg="add mod">
          <ac:chgData name="Krishna  Patel" userId="ed2200d0-4eed-40c6-ab36-78bc62005773" providerId="ADAL" clId="{3F3D50BC-FABB-49F1-9EA1-A42C0824C70C}" dt="2025-07-14T10:06:48.726" v="1263" actId="20577"/>
          <ac:grpSpMkLst>
            <pc:docMk/>
            <pc:sldMk cId="2666338703" sldId="2147475594"/>
            <ac:grpSpMk id="31" creationId="{012511A3-CB40-7221-9B11-8BE377D2FDB6}"/>
          </ac:grpSpMkLst>
        </pc:grpChg>
        <pc:picChg chg="mod topLvl">
          <ac:chgData name="Krishna  Patel" userId="ed2200d0-4eed-40c6-ab36-78bc62005773" providerId="ADAL" clId="{3F3D50BC-FABB-49F1-9EA1-A42C0824C70C}" dt="2025-07-14T10:06:45.538" v="1261" actId="20577"/>
          <ac:picMkLst>
            <pc:docMk/>
            <pc:sldMk cId="2666338703" sldId="2147475594"/>
            <ac:picMk id="13" creationId="{6E9E5D03-1223-D995-71AE-E75842706D8A}"/>
          </ac:picMkLst>
        </pc:picChg>
        <pc:picChg chg="mod topLvl">
          <ac:chgData name="Krishna  Patel" userId="ed2200d0-4eed-40c6-ab36-78bc62005773" providerId="ADAL" clId="{3F3D50BC-FABB-49F1-9EA1-A42C0824C70C}" dt="2025-07-14T10:06:47.453" v="1262" actId="20577"/>
          <ac:picMkLst>
            <pc:docMk/>
            <pc:sldMk cId="2666338703" sldId="2147475594"/>
            <ac:picMk id="16" creationId="{CEEDF481-173C-4D6B-BFE1-748A40DE5169}"/>
          </ac:picMkLst>
        </pc:picChg>
        <pc:picChg chg="mod topLvl">
          <ac:chgData name="Krishna  Patel" userId="ed2200d0-4eed-40c6-ab36-78bc62005773" providerId="ADAL" clId="{3F3D50BC-FABB-49F1-9EA1-A42C0824C70C}" dt="2025-07-14T10:06:48.726" v="1263" actId="20577"/>
          <ac:picMkLst>
            <pc:docMk/>
            <pc:sldMk cId="2666338703" sldId="2147475594"/>
            <ac:picMk id="19" creationId="{0FE47BD0-7E19-6EBE-59C6-9F7AE27796AB}"/>
          </ac:picMkLst>
        </pc:picChg>
      </pc:sldChg>
      <pc:sldChg chg="addSp delSp modSp new mod modAnim">
        <pc:chgData name="Krishna  Patel" userId="ed2200d0-4eed-40c6-ab36-78bc62005773" providerId="ADAL" clId="{3F3D50BC-FABB-49F1-9EA1-A42C0824C70C}" dt="2025-07-14T10:28:16.189" v="1437"/>
        <pc:sldMkLst>
          <pc:docMk/>
          <pc:sldMk cId="1719527830" sldId="2147475595"/>
        </pc:sldMkLst>
        <pc:spChg chg="mod">
          <ac:chgData name="Krishna  Patel" userId="ed2200d0-4eed-40c6-ab36-78bc62005773" providerId="ADAL" clId="{3F3D50BC-FABB-49F1-9EA1-A42C0824C70C}" dt="2025-07-14T08:39:59.085" v="446" actId="113"/>
          <ac:spMkLst>
            <pc:docMk/>
            <pc:sldMk cId="1719527830" sldId="2147475595"/>
            <ac:spMk id="2" creationId="{C95551C8-5098-7E2C-A6AC-D65EA510CD73}"/>
          </ac:spMkLst>
        </pc:spChg>
        <pc:spChg chg="add mod">
          <ac:chgData name="Krishna  Patel" userId="ed2200d0-4eed-40c6-ab36-78bc62005773" providerId="ADAL" clId="{3F3D50BC-FABB-49F1-9EA1-A42C0824C70C}" dt="2025-07-14T08:40:43.442" v="465" actId="1036"/>
          <ac:spMkLst>
            <pc:docMk/>
            <pc:sldMk cId="1719527830" sldId="2147475595"/>
            <ac:spMk id="6" creationId="{1E748BEB-1476-82F9-753C-4728C19FE809}"/>
          </ac:spMkLst>
        </pc:spChg>
        <pc:spChg chg="mod ord">
          <ac:chgData name="Krishna  Patel" userId="ed2200d0-4eed-40c6-ab36-78bc62005773" providerId="ADAL" clId="{3F3D50BC-FABB-49F1-9EA1-A42C0824C70C}" dt="2025-07-14T08:51:34.315" v="613" actId="1076"/>
          <ac:spMkLst>
            <pc:docMk/>
            <pc:sldMk cId="1719527830" sldId="2147475595"/>
            <ac:spMk id="7" creationId="{D058C1DD-C114-1C60-DBCE-C436A4151805}"/>
          </ac:spMkLst>
        </pc:spChg>
        <pc:spChg chg="add mod">
          <ac:chgData name="Krishna  Patel" userId="ed2200d0-4eed-40c6-ab36-78bc62005773" providerId="ADAL" clId="{3F3D50BC-FABB-49F1-9EA1-A42C0824C70C}" dt="2025-07-14T08:45:30.034" v="526" actId="403"/>
          <ac:spMkLst>
            <pc:docMk/>
            <pc:sldMk cId="1719527830" sldId="2147475595"/>
            <ac:spMk id="9" creationId="{C4EA4F7E-E932-E756-17A6-B7E414F1F13E}"/>
          </ac:spMkLst>
        </pc:spChg>
        <pc:spChg chg="add mod">
          <ac:chgData name="Krishna  Patel" userId="ed2200d0-4eed-40c6-ab36-78bc62005773" providerId="ADAL" clId="{3F3D50BC-FABB-49F1-9EA1-A42C0824C70C}" dt="2025-07-14T08:46:33.170" v="540" actId="554"/>
          <ac:spMkLst>
            <pc:docMk/>
            <pc:sldMk cId="1719527830" sldId="2147475595"/>
            <ac:spMk id="11" creationId="{4649A011-72C9-F832-5801-F1F0C32A11B5}"/>
          </ac:spMkLst>
        </pc:spChg>
        <pc:spChg chg="mod">
          <ac:chgData name="Krishna  Patel" userId="ed2200d0-4eed-40c6-ab36-78bc62005773" providerId="ADAL" clId="{3F3D50BC-FABB-49F1-9EA1-A42C0824C70C}" dt="2025-07-14T08:46:36.576" v="541" actId="554"/>
          <ac:spMkLst>
            <pc:docMk/>
            <pc:sldMk cId="1719527830" sldId="2147475595"/>
            <ac:spMk id="12" creationId="{B3AA8FBD-642C-27E1-5066-8B10191AB8BE}"/>
          </ac:spMkLst>
        </pc:spChg>
        <pc:spChg chg="add mod ord">
          <ac:chgData name="Krishna  Patel" userId="ed2200d0-4eed-40c6-ab36-78bc62005773" providerId="ADAL" clId="{3F3D50BC-FABB-49F1-9EA1-A42C0824C70C}" dt="2025-07-14T08:46:38.907" v="542" actId="14100"/>
          <ac:spMkLst>
            <pc:docMk/>
            <pc:sldMk cId="1719527830" sldId="2147475595"/>
            <ac:spMk id="14" creationId="{C0CC5499-3C48-5CA3-F2F5-161F5DA747CB}"/>
          </ac:spMkLst>
        </pc:spChg>
        <pc:spChg chg="add mod">
          <ac:chgData name="Krishna  Patel" userId="ed2200d0-4eed-40c6-ab36-78bc62005773" providerId="ADAL" clId="{3F3D50BC-FABB-49F1-9EA1-A42C0824C70C}" dt="2025-07-14T08:45:39.347" v="527" actId="6549"/>
          <ac:spMkLst>
            <pc:docMk/>
            <pc:sldMk cId="1719527830" sldId="2147475595"/>
            <ac:spMk id="16" creationId="{27F71587-1AD4-57B4-6FD6-B8DFD976A1E0}"/>
          </ac:spMkLst>
        </pc:spChg>
        <pc:spChg chg="add mod">
          <ac:chgData name="Krishna  Patel" userId="ed2200d0-4eed-40c6-ab36-78bc62005773" providerId="ADAL" clId="{3F3D50BC-FABB-49F1-9EA1-A42C0824C70C}" dt="2025-07-14T08:49:37.007" v="569" actId="554"/>
          <ac:spMkLst>
            <pc:docMk/>
            <pc:sldMk cId="1719527830" sldId="2147475595"/>
            <ac:spMk id="18" creationId="{86F1B596-0791-A1C9-F33C-FA0BAFBC9AB4}"/>
          </ac:spMkLst>
        </pc:spChg>
        <pc:spChg chg="mod">
          <ac:chgData name="Krishna  Patel" userId="ed2200d0-4eed-40c6-ab36-78bc62005773" providerId="ADAL" clId="{3F3D50BC-FABB-49F1-9EA1-A42C0824C70C}" dt="2025-07-14T08:49:40.633" v="570" actId="554"/>
          <ac:spMkLst>
            <pc:docMk/>
            <pc:sldMk cId="1719527830" sldId="2147475595"/>
            <ac:spMk id="19" creationId="{6C319F67-432B-07C5-92C4-9BCFFADB2242}"/>
          </ac:spMkLst>
        </pc:spChg>
        <pc:spChg chg="add mod ord">
          <ac:chgData name="Krishna  Patel" userId="ed2200d0-4eed-40c6-ab36-78bc62005773" providerId="ADAL" clId="{3F3D50BC-FABB-49F1-9EA1-A42C0824C70C}" dt="2025-07-14T08:49:43.133" v="571" actId="14100"/>
          <ac:spMkLst>
            <pc:docMk/>
            <pc:sldMk cId="1719527830" sldId="2147475595"/>
            <ac:spMk id="21" creationId="{30C18189-B50E-EE48-BBBA-5C1D59D58805}"/>
          </ac:spMkLst>
        </pc:spChg>
        <pc:spChg chg="mod">
          <ac:chgData name="Krishna  Patel" userId="ed2200d0-4eed-40c6-ab36-78bc62005773" providerId="ADAL" clId="{3F3D50BC-FABB-49F1-9EA1-A42C0824C70C}" dt="2025-07-14T08:49:37.007" v="569" actId="554"/>
          <ac:spMkLst>
            <pc:docMk/>
            <pc:sldMk cId="1719527830" sldId="2147475595"/>
            <ac:spMk id="25" creationId="{C57844E5-A663-CF55-7A01-71C46FE7278E}"/>
          </ac:spMkLst>
        </pc:spChg>
        <pc:spChg chg="mod">
          <ac:chgData name="Krishna  Patel" userId="ed2200d0-4eed-40c6-ab36-78bc62005773" providerId="ADAL" clId="{3F3D50BC-FABB-49F1-9EA1-A42C0824C70C}" dt="2025-07-14T08:49:40.633" v="570" actId="554"/>
          <ac:spMkLst>
            <pc:docMk/>
            <pc:sldMk cId="1719527830" sldId="2147475595"/>
            <ac:spMk id="26" creationId="{5C2F3017-E233-922D-B770-4E95FB7FD683}"/>
          </ac:spMkLst>
        </pc:spChg>
        <pc:spChg chg="add mod ord">
          <ac:chgData name="Krishna  Patel" userId="ed2200d0-4eed-40c6-ab36-78bc62005773" providerId="ADAL" clId="{3F3D50BC-FABB-49F1-9EA1-A42C0824C70C}" dt="2025-07-14T08:45:19.102" v="523" actId="1076"/>
          <ac:spMkLst>
            <pc:docMk/>
            <pc:sldMk cId="1719527830" sldId="2147475595"/>
            <ac:spMk id="28" creationId="{F6933985-3D29-8AD2-5B29-E8ED846A5C7B}"/>
          </ac:spMkLst>
        </pc:spChg>
        <pc:spChg chg="add mod ord">
          <ac:chgData name="Krishna  Patel" userId="ed2200d0-4eed-40c6-ab36-78bc62005773" providerId="ADAL" clId="{3F3D50BC-FABB-49F1-9EA1-A42C0824C70C}" dt="2025-07-14T08:46:18.467" v="534" actId="167"/>
          <ac:spMkLst>
            <pc:docMk/>
            <pc:sldMk cId="1719527830" sldId="2147475595"/>
            <ac:spMk id="29" creationId="{9ACFE537-13D9-B933-F757-A37637EB206D}"/>
          </ac:spMkLst>
        </pc:spChg>
        <pc:spChg chg="add mod">
          <ac:chgData name="Krishna  Patel" userId="ed2200d0-4eed-40c6-ab36-78bc62005773" providerId="ADAL" clId="{3F3D50BC-FABB-49F1-9EA1-A42C0824C70C}" dt="2025-07-14T08:47:36.270" v="551" actId="1036"/>
          <ac:spMkLst>
            <pc:docMk/>
            <pc:sldMk cId="1719527830" sldId="2147475595"/>
            <ac:spMk id="31" creationId="{C7263614-4DBF-B1B4-45A5-05D69B4154B6}"/>
          </ac:spMkLst>
        </pc:spChg>
        <pc:spChg chg="add mod">
          <ac:chgData name="Krishna  Patel" userId="ed2200d0-4eed-40c6-ab36-78bc62005773" providerId="ADAL" clId="{3F3D50BC-FABB-49F1-9EA1-A42C0824C70C}" dt="2025-07-14T08:48:07.430" v="557" actId="20577"/>
          <ac:spMkLst>
            <pc:docMk/>
            <pc:sldMk cId="1719527830" sldId="2147475595"/>
            <ac:spMk id="32" creationId="{E372EE5E-4402-9B22-13BF-6E22E81E7788}"/>
          </ac:spMkLst>
        </pc:spChg>
        <pc:spChg chg="add mod ord">
          <ac:chgData name="Krishna  Patel" userId="ed2200d0-4eed-40c6-ab36-78bc62005773" providerId="ADAL" clId="{3F3D50BC-FABB-49F1-9EA1-A42C0824C70C}" dt="2025-07-14T08:49:23.688" v="563" actId="167"/>
          <ac:spMkLst>
            <pc:docMk/>
            <pc:sldMk cId="1719527830" sldId="2147475595"/>
            <ac:spMk id="33" creationId="{08ABDA65-7448-9F65-1F16-B8ED0AFCE379}"/>
          </ac:spMkLst>
        </pc:spChg>
        <pc:spChg chg="add mod">
          <ac:chgData name="Krishna  Patel" userId="ed2200d0-4eed-40c6-ab36-78bc62005773" providerId="ADAL" clId="{3F3D50BC-FABB-49F1-9EA1-A42C0824C70C}" dt="2025-07-14T08:54:33.173" v="685" actId="1035"/>
          <ac:spMkLst>
            <pc:docMk/>
            <pc:sldMk cId="1719527830" sldId="2147475595"/>
            <ac:spMk id="58" creationId="{A58AD289-FFDB-B0F3-11C9-D6092A4640AE}"/>
          </ac:spMkLst>
        </pc:spChg>
        <pc:spChg chg="add mod">
          <ac:chgData name="Krishna  Patel" userId="ed2200d0-4eed-40c6-ab36-78bc62005773" providerId="ADAL" clId="{3F3D50BC-FABB-49F1-9EA1-A42C0824C70C}" dt="2025-07-14T08:54:33.173" v="685" actId="1035"/>
          <ac:spMkLst>
            <pc:docMk/>
            <pc:sldMk cId="1719527830" sldId="2147475595"/>
            <ac:spMk id="62" creationId="{F7F1BBC9-83E7-18BD-9BE9-C3532C193382}"/>
          </ac:spMkLst>
        </pc:spChg>
        <pc:spChg chg="mod">
          <ac:chgData name="Krishna  Patel" userId="ed2200d0-4eed-40c6-ab36-78bc62005773" providerId="ADAL" clId="{3F3D50BC-FABB-49F1-9EA1-A42C0824C70C}" dt="2025-07-14T08:54:07.873" v="678" actId="1035"/>
          <ac:spMkLst>
            <pc:docMk/>
            <pc:sldMk cId="1719527830" sldId="2147475595"/>
            <ac:spMk id="63" creationId="{D5CB055E-2D26-93E6-588C-75DCC79B71C8}"/>
          </ac:spMkLst>
        </pc:spChg>
        <pc:spChg chg="add mod">
          <ac:chgData name="Krishna  Patel" userId="ed2200d0-4eed-40c6-ab36-78bc62005773" providerId="ADAL" clId="{3F3D50BC-FABB-49F1-9EA1-A42C0824C70C}" dt="2025-07-14T08:54:33.173" v="685" actId="1035"/>
          <ac:spMkLst>
            <pc:docMk/>
            <pc:sldMk cId="1719527830" sldId="2147475595"/>
            <ac:spMk id="65" creationId="{CF347112-6FEC-928A-D19A-D079CB98D6D8}"/>
          </ac:spMkLst>
        </pc:spChg>
        <pc:spChg chg="add mod">
          <ac:chgData name="Krishna  Patel" userId="ed2200d0-4eed-40c6-ab36-78bc62005773" providerId="ADAL" clId="{3F3D50BC-FABB-49F1-9EA1-A42C0824C70C}" dt="2025-07-14T08:54:33.173" v="685" actId="1035"/>
          <ac:spMkLst>
            <pc:docMk/>
            <pc:sldMk cId="1719527830" sldId="2147475595"/>
            <ac:spMk id="69" creationId="{2835BCD3-CFE0-22EC-BC03-13B685AE8E2A}"/>
          </ac:spMkLst>
        </pc:spChg>
        <pc:spChg chg="add mod">
          <ac:chgData name="Krishna  Patel" userId="ed2200d0-4eed-40c6-ab36-78bc62005773" providerId="ADAL" clId="{3F3D50BC-FABB-49F1-9EA1-A42C0824C70C}" dt="2025-07-14T08:54:33.173" v="685" actId="1035"/>
          <ac:spMkLst>
            <pc:docMk/>
            <pc:sldMk cId="1719527830" sldId="2147475595"/>
            <ac:spMk id="70" creationId="{D9FAE1F5-24E7-5616-A65C-687FCC9AD58E}"/>
          </ac:spMkLst>
        </pc:spChg>
        <pc:spChg chg="add mod">
          <ac:chgData name="Krishna  Patel" userId="ed2200d0-4eed-40c6-ab36-78bc62005773" providerId="ADAL" clId="{3F3D50BC-FABB-49F1-9EA1-A42C0824C70C}" dt="2025-07-14T08:54:33.173" v="685" actId="1035"/>
          <ac:spMkLst>
            <pc:docMk/>
            <pc:sldMk cId="1719527830" sldId="2147475595"/>
            <ac:spMk id="72" creationId="{EDC59FD2-AFA4-13B5-BC7B-052F96BC2920}"/>
          </ac:spMkLst>
        </pc:spChg>
        <pc:spChg chg="add mod">
          <ac:chgData name="Krishna  Patel" userId="ed2200d0-4eed-40c6-ab36-78bc62005773" providerId="ADAL" clId="{3F3D50BC-FABB-49F1-9EA1-A42C0824C70C}" dt="2025-07-14T08:53:52.043" v="666" actId="403"/>
          <ac:spMkLst>
            <pc:docMk/>
            <pc:sldMk cId="1719527830" sldId="2147475595"/>
            <ac:spMk id="76" creationId="{2C861FAB-8486-5BAD-AD3A-03EB72B37471}"/>
          </ac:spMkLst>
        </pc:spChg>
        <pc:spChg chg="mod">
          <ac:chgData name="Krishna  Patel" userId="ed2200d0-4eed-40c6-ab36-78bc62005773" providerId="ADAL" clId="{3F3D50BC-FABB-49F1-9EA1-A42C0824C70C}" dt="2025-07-14T08:54:33.173" v="685" actId="1035"/>
          <ac:spMkLst>
            <pc:docMk/>
            <pc:sldMk cId="1719527830" sldId="2147475595"/>
            <ac:spMk id="77" creationId="{EBBEA285-0CEE-6AF5-AD43-49F5532FE665}"/>
          </ac:spMkLst>
        </pc:spChg>
        <pc:spChg chg="add mod">
          <ac:chgData name="Krishna  Patel" userId="ed2200d0-4eed-40c6-ab36-78bc62005773" providerId="ADAL" clId="{3F3D50BC-FABB-49F1-9EA1-A42C0824C70C}" dt="2025-07-14T10:25:26.284" v="1403" actId="20577"/>
          <ac:spMkLst>
            <pc:docMk/>
            <pc:sldMk cId="1719527830" sldId="2147475595"/>
            <ac:spMk id="78" creationId="{D6356A47-E15D-90FF-E54C-532864E39DC1}"/>
          </ac:spMkLst>
        </pc:spChg>
        <pc:spChg chg="add mod">
          <ac:chgData name="Krishna  Patel" userId="ed2200d0-4eed-40c6-ab36-78bc62005773" providerId="ADAL" clId="{3F3D50BC-FABB-49F1-9EA1-A42C0824C70C}" dt="2025-07-14T08:52:20.024" v="629" actId="554"/>
          <ac:spMkLst>
            <pc:docMk/>
            <pc:sldMk cId="1719527830" sldId="2147475595"/>
            <ac:spMk id="79" creationId="{6235CFB2-1F15-81D3-1F5F-144CC161CB69}"/>
          </ac:spMkLst>
        </pc:spChg>
        <pc:spChg chg="add mod">
          <ac:chgData name="Krishna  Patel" userId="ed2200d0-4eed-40c6-ab36-78bc62005773" providerId="ADAL" clId="{3F3D50BC-FABB-49F1-9EA1-A42C0824C70C}" dt="2025-07-14T10:25:23.038" v="1401" actId="20577"/>
          <ac:spMkLst>
            <pc:docMk/>
            <pc:sldMk cId="1719527830" sldId="2147475595"/>
            <ac:spMk id="80" creationId="{1E0FE1C2-B6CC-BE26-8F24-FBB36D8CB300}"/>
          </ac:spMkLst>
        </pc:spChg>
        <pc:spChg chg="add mod">
          <ac:chgData name="Krishna  Patel" userId="ed2200d0-4eed-40c6-ab36-78bc62005773" providerId="ADAL" clId="{3F3D50BC-FABB-49F1-9EA1-A42C0824C70C}" dt="2025-07-14T08:54:33.173" v="685" actId="1035"/>
          <ac:spMkLst>
            <pc:docMk/>
            <pc:sldMk cId="1719527830" sldId="2147475595"/>
            <ac:spMk id="81" creationId="{A31B1F67-1617-C7CD-8BAF-F42BB414C794}"/>
          </ac:spMkLst>
        </pc:spChg>
        <pc:spChg chg="add mod">
          <ac:chgData name="Krishna  Patel" userId="ed2200d0-4eed-40c6-ab36-78bc62005773" providerId="ADAL" clId="{3F3D50BC-FABB-49F1-9EA1-A42C0824C70C}" dt="2025-07-14T08:52:51.883" v="637" actId="554"/>
          <ac:spMkLst>
            <pc:docMk/>
            <pc:sldMk cId="1719527830" sldId="2147475595"/>
            <ac:spMk id="82" creationId="{2E905F20-9990-D821-3726-74D45B2D571D}"/>
          </ac:spMkLst>
        </pc:spChg>
        <pc:spChg chg="add mod">
          <ac:chgData name="Krishna  Patel" userId="ed2200d0-4eed-40c6-ab36-78bc62005773" providerId="ADAL" clId="{3F3D50BC-FABB-49F1-9EA1-A42C0824C70C}" dt="2025-07-14T08:52:51.883" v="637" actId="554"/>
          <ac:spMkLst>
            <pc:docMk/>
            <pc:sldMk cId="1719527830" sldId="2147475595"/>
            <ac:spMk id="83" creationId="{419AF9ED-4DB5-D481-914D-D0C3AC5B000C}"/>
          </ac:spMkLst>
        </pc:spChg>
        <pc:spChg chg="add mod">
          <ac:chgData name="Krishna  Patel" userId="ed2200d0-4eed-40c6-ab36-78bc62005773" providerId="ADAL" clId="{3F3D50BC-FABB-49F1-9EA1-A42C0824C70C}" dt="2025-07-14T10:16:57.859" v="1358"/>
          <ac:spMkLst>
            <pc:docMk/>
            <pc:sldMk cId="1719527830" sldId="2147475595"/>
            <ac:spMk id="84" creationId="{AA173544-F498-91DC-7EE7-9D9742894CFA}"/>
          </ac:spMkLst>
        </pc:spChg>
        <pc:spChg chg="add mod">
          <ac:chgData name="Krishna  Patel" userId="ed2200d0-4eed-40c6-ab36-78bc62005773" providerId="ADAL" clId="{3F3D50BC-FABB-49F1-9EA1-A42C0824C70C}" dt="2025-07-14T10:16:57.859" v="1358"/>
          <ac:spMkLst>
            <pc:docMk/>
            <pc:sldMk cId="1719527830" sldId="2147475595"/>
            <ac:spMk id="85" creationId="{4A31E092-EABF-67B0-EF4C-0D7E7B0DD24D}"/>
          </ac:spMkLst>
        </pc:spChg>
        <pc:spChg chg="add mod">
          <ac:chgData name="Krishna  Patel" userId="ed2200d0-4eed-40c6-ab36-78bc62005773" providerId="ADAL" clId="{3F3D50BC-FABB-49F1-9EA1-A42C0824C70C}" dt="2025-07-14T10:27:42.729" v="1433" actId="1076"/>
          <ac:spMkLst>
            <pc:docMk/>
            <pc:sldMk cId="1719527830" sldId="2147475595"/>
            <ac:spMk id="86" creationId="{5567B4E0-4B3A-C724-E813-E30B41786ED9}"/>
          </ac:spMkLst>
        </pc:spChg>
        <pc:picChg chg="mod">
          <ac:chgData name="Krishna  Patel" userId="ed2200d0-4eed-40c6-ab36-78bc62005773" providerId="ADAL" clId="{3F3D50BC-FABB-49F1-9EA1-A42C0824C70C}" dt="2025-07-14T08:45:19.102" v="523" actId="1076"/>
          <ac:picMkLst>
            <pc:docMk/>
            <pc:sldMk cId="1719527830" sldId="2147475595"/>
            <ac:picMk id="10" creationId="{B9C40431-88C2-EC28-B021-1A94286E1D52}"/>
          </ac:picMkLst>
        </pc:picChg>
        <pc:picChg chg="mod">
          <ac:chgData name="Krishna  Patel" userId="ed2200d0-4eed-40c6-ab36-78bc62005773" providerId="ADAL" clId="{3F3D50BC-FABB-49F1-9EA1-A42C0824C70C}" dt="2025-07-14T08:46:27.237" v="539" actId="1035"/>
          <ac:picMkLst>
            <pc:docMk/>
            <pc:sldMk cId="1719527830" sldId="2147475595"/>
            <ac:picMk id="17" creationId="{8B6B124F-F150-8FFA-A430-BA05A5048D35}"/>
          </ac:picMkLst>
        </pc:picChg>
        <pc:picChg chg="mod">
          <ac:chgData name="Krishna  Patel" userId="ed2200d0-4eed-40c6-ab36-78bc62005773" providerId="ADAL" clId="{3F3D50BC-FABB-49F1-9EA1-A42C0824C70C}" dt="2025-07-14T08:49:55.073" v="575" actId="1037"/>
          <ac:picMkLst>
            <pc:docMk/>
            <pc:sldMk cId="1719527830" sldId="2147475595"/>
            <ac:picMk id="24" creationId="{EF399F39-9E14-5D5C-676A-71D219AE17FC}"/>
          </ac:picMkLst>
        </pc:picChg>
        <pc:picChg chg="mod ord">
          <ac:chgData name="Krishna  Patel" userId="ed2200d0-4eed-40c6-ab36-78bc62005773" providerId="ADAL" clId="{3F3D50BC-FABB-49F1-9EA1-A42C0824C70C}" dt="2025-07-14T08:53:33.253" v="661" actId="1036"/>
          <ac:picMkLst>
            <pc:docMk/>
            <pc:sldMk cId="1719527830" sldId="2147475595"/>
            <ac:picMk id="61" creationId="{A17EA1EF-CB8F-1360-C6B8-709CA352D3AF}"/>
          </ac:picMkLst>
        </pc:picChg>
        <pc:picChg chg="mod ord">
          <ac:chgData name="Krishna  Patel" userId="ed2200d0-4eed-40c6-ab36-78bc62005773" providerId="ADAL" clId="{3F3D50BC-FABB-49F1-9EA1-A42C0824C70C}" dt="2025-07-14T08:53:21.393" v="648" actId="1036"/>
          <ac:picMkLst>
            <pc:docMk/>
            <pc:sldMk cId="1719527830" sldId="2147475595"/>
            <ac:picMk id="68" creationId="{E8810A3B-4537-F0F6-FD7C-C70BB1717231}"/>
          </ac:picMkLst>
        </pc:picChg>
        <pc:picChg chg="mod ord">
          <ac:chgData name="Krishna  Patel" userId="ed2200d0-4eed-40c6-ab36-78bc62005773" providerId="ADAL" clId="{3F3D50BC-FABB-49F1-9EA1-A42C0824C70C}" dt="2025-07-14T08:53:28.204" v="654" actId="1037"/>
          <ac:picMkLst>
            <pc:docMk/>
            <pc:sldMk cId="1719527830" sldId="2147475595"/>
            <ac:picMk id="75" creationId="{4A683B0F-C8B0-6854-B377-865B3329549C}"/>
          </ac:picMkLst>
        </pc:picChg>
        <pc:cxnChg chg="add mod">
          <ac:chgData name="Krishna  Patel" userId="ed2200d0-4eed-40c6-ab36-78bc62005773" providerId="ADAL" clId="{3F3D50BC-FABB-49F1-9EA1-A42C0824C70C}" dt="2025-07-14T10:26:13.822" v="1413" actId="1582"/>
          <ac:cxnSpMkLst>
            <pc:docMk/>
            <pc:sldMk cId="1719527830" sldId="2147475595"/>
            <ac:cxnSpMk id="88" creationId="{FE21828C-FC72-2EEB-BDD1-63370558DAC8}"/>
          </ac:cxnSpMkLst>
        </pc:cxnChg>
        <pc:cxnChg chg="add mod">
          <ac:chgData name="Krishna  Patel" userId="ed2200d0-4eed-40c6-ab36-78bc62005773" providerId="ADAL" clId="{3F3D50BC-FABB-49F1-9EA1-A42C0824C70C}" dt="2025-07-14T10:26:25.721" v="1416" actId="14100"/>
          <ac:cxnSpMkLst>
            <pc:docMk/>
            <pc:sldMk cId="1719527830" sldId="2147475595"/>
            <ac:cxnSpMk id="90" creationId="{994E73E9-D6FF-BB67-7E9A-9F0A6AB47F5D}"/>
          </ac:cxnSpMkLst>
        </pc:cxnChg>
        <pc:cxnChg chg="add mod">
          <ac:chgData name="Krishna  Patel" userId="ed2200d0-4eed-40c6-ab36-78bc62005773" providerId="ADAL" clId="{3F3D50BC-FABB-49F1-9EA1-A42C0824C70C}" dt="2025-07-14T10:26:36.689" v="1419" actId="14100"/>
          <ac:cxnSpMkLst>
            <pc:docMk/>
            <pc:sldMk cId="1719527830" sldId="2147475595"/>
            <ac:cxnSpMk id="93" creationId="{3DC80E33-0803-653D-75F9-C1DB47292826}"/>
          </ac:cxnSpMkLst>
        </pc:cxnChg>
        <pc:cxnChg chg="add mod">
          <ac:chgData name="Krishna  Patel" userId="ed2200d0-4eed-40c6-ab36-78bc62005773" providerId="ADAL" clId="{3F3D50BC-FABB-49F1-9EA1-A42C0824C70C}" dt="2025-07-14T10:26:47.625" v="1422" actId="14100"/>
          <ac:cxnSpMkLst>
            <pc:docMk/>
            <pc:sldMk cId="1719527830" sldId="2147475595"/>
            <ac:cxnSpMk id="96" creationId="{A51319DC-A213-82CB-B4DE-586EF1E7732C}"/>
          </ac:cxnSpMkLst>
        </pc:cxnChg>
        <pc:cxnChg chg="add mod">
          <ac:chgData name="Krishna  Patel" userId="ed2200d0-4eed-40c6-ab36-78bc62005773" providerId="ADAL" clId="{3F3D50BC-FABB-49F1-9EA1-A42C0824C70C}" dt="2025-07-14T10:26:56.533" v="1425" actId="14100"/>
          <ac:cxnSpMkLst>
            <pc:docMk/>
            <pc:sldMk cId="1719527830" sldId="2147475595"/>
            <ac:cxnSpMk id="99" creationId="{08EAB16A-F1FD-54E1-76F1-5D2B7023345D}"/>
          </ac:cxnSpMkLst>
        </pc:cxnChg>
      </pc:sldChg>
      <pc:sldChg chg="new del">
        <pc:chgData name="Krishna  Patel" userId="ed2200d0-4eed-40c6-ab36-78bc62005773" providerId="ADAL" clId="{3F3D50BC-FABB-49F1-9EA1-A42C0824C70C}" dt="2025-07-14T09:06:14.023" v="866" actId="680"/>
        <pc:sldMkLst>
          <pc:docMk/>
          <pc:sldMk cId="726733189" sldId="2147475596"/>
        </pc:sldMkLst>
      </pc:sldChg>
      <pc:sldChg chg="delSp modSp new mod modAnim">
        <pc:chgData name="Krishna  Patel" userId="ed2200d0-4eed-40c6-ab36-78bc62005773" providerId="ADAL" clId="{3F3D50BC-FABB-49F1-9EA1-A42C0824C70C}" dt="2025-07-14T10:23:52.374" v="1395"/>
        <pc:sldMkLst>
          <pc:docMk/>
          <pc:sldMk cId="786016071" sldId="2147475596"/>
        </pc:sldMkLst>
      </pc:sldChg>
      <pc:sldChg chg="add del">
        <pc:chgData name="Krishna  Patel" userId="ed2200d0-4eed-40c6-ab36-78bc62005773" providerId="ADAL" clId="{3F3D50BC-FABB-49F1-9EA1-A42C0824C70C}" dt="2025-07-14T08:50:55.925" v="600"/>
        <pc:sldMkLst>
          <pc:docMk/>
          <pc:sldMk cId="1856440086" sldId="2147475596"/>
        </pc:sldMkLst>
      </pc:sldChg>
      <pc:sldChg chg="addSp modSp add mod modAnim">
        <pc:chgData name="Krishna  Patel" userId="ed2200d0-4eed-40c6-ab36-78bc62005773" providerId="ADAL" clId="{3F3D50BC-FABB-49F1-9EA1-A42C0824C70C}" dt="2025-07-14T10:23:54.583" v="1396"/>
        <pc:sldMkLst>
          <pc:docMk/>
          <pc:sldMk cId="580079857" sldId="2147475597"/>
        </pc:sldMkLst>
      </pc:sldChg>
      <pc:sldMasterChg chg="delSldLayout modSldLayout">
        <pc:chgData name="Krishna  Patel" userId="ed2200d0-4eed-40c6-ab36-78bc62005773" providerId="ADAL" clId="{3F3D50BC-FABB-49F1-9EA1-A42C0824C70C}" dt="2025-07-14T10:13:24.950" v="1330" actId="47"/>
        <pc:sldMasterMkLst>
          <pc:docMk/>
          <pc:sldMasterMk cId="2330087042" sldId="2147483691"/>
        </pc:sldMasterMkLst>
        <pc:sldLayoutChg chg="del">
          <pc:chgData name="Krishna  Patel" userId="ed2200d0-4eed-40c6-ab36-78bc62005773" providerId="ADAL" clId="{3F3D50BC-FABB-49F1-9EA1-A42C0824C70C}" dt="2025-07-14T10:13:24.950" v="1330" actId="47"/>
          <pc:sldLayoutMkLst>
            <pc:docMk/>
            <pc:sldMasterMk cId="2330087042" sldId="2147483691"/>
            <pc:sldLayoutMk cId="1515152086" sldId="2147483745"/>
          </pc:sldLayoutMkLst>
        </pc:sldLayoutChg>
        <pc:sldLayoutChg chg="delSp modSp mod">
          <pc:chgData name="Krishna  Patel" userId="ed2200d0-4eed-40c6-ab36-78bc62005773" providerId="ADAL" clId="{3F3D50BC-FABB-49F1-9EA1-A42C0824C70C}" dt="2025-07-14T10:09:28.557" v="1289" actId="21"/>
          <pc:sldLayoutMkLst>
            <pc:docMk/>
            <pc:sldMasterMk cId="2330087042" sldId="2147483691"/>
            <pc:sldLayoutMk cId="3049551836" sldId="2147483747"/>
          </pc:sldLayoutMkLst>
          <pc:spChg chg="mod">
            <ac:chgData name="Krishna  Patel" userId="ed2200d0-4eed-40c6-ab36-78bc62005773" providerId="ADAL" clId="{3F3D50BC-FABB-49F1-9EA1-A42C0824C70C}" dt="2025-07-14T09:02:23.125" v="797" actId="1035"/>
            <ac:spMkLst>
              <pc:docMk/>
              <pc:sldMasterMk cId="2330087042" sldId="2147483691"/>
              <pc:sldLayoutMk cId="3049551836" sldId="2147483747"/>
              <ac:spMk id="3" creationId="{EF2DB283-A143-4618-9231-E5A3BD4D9EEE}"/>
            </ac:spMkLst>
          </pc:spChg>
          <pc:spChg chg="mod">
            <ac:chgData name="Krishna  Patel" userId="ed2200d0-4eed-40c6-ab36-78bc62005773" providerId="ADAL" clId="{3F3D50BC-FABB-49F1-9EA1-A42C0824C70C}" dt="2025-07-14T09:02:23.125" v="797" actId="1035"/>
            <ac:spMkLst>
              <pc:docMk/>
              <pc:sldMasterMk cId="2330087042" sldId="2147483691"/>
              <pc:sldLayoutMk cId="3049551836" sldId="2147483747"/>
              <ac:spMk id="10" creationId="{8DFBAC9D-7134-7369-163D-9A315D12DC6B}"/>
            </ac:spMkLst>
          </pc:spChg>
          <pc:spChg chg="mod">
            <ac:chgData name="Krishna  Patel" userId="ed2200d0-4eed-40c6-ab36-78bc62005773" providerId="ADAL" clId="{3F3D50BC-FABB-49F1-9EA1-A42C0824C70C}" dt="2025-07-14T09:02:23.125" v="797" actId="1035"/>
            <ac:spMkLst>
              <pc:docMk/>
              <pc:sldMasterMk cId="2330087042" sldId="2147483691"/>
              <pc:sldLayoutMk cId="3049551836" sldId="2147483747"/>
              <ac:spMk id="12" creationId="{46018D78-F3C3-E2F9-6AE6-EE3227D8F08F}"/>
            </ac:spMkLst>
          </pc:spChg>
          <pc:spChg chg="mod">
            <ac:chgData name="Krishna  Patel" userId="ed2200d0-4eed-40c6-ab36-78bc62005773" providerId="ADAL" clId="{3F3D50BC-FABB-49F1-9EA1-A42C0824C70C}" dt="2025-07-14T09:02:23.125" v="797" actId="1035"/>
            <ac:spMkLst>
              <pc:docMk/>
              <pc:sldMasterMk cId="2330087042" sldId="2147483691"/>
              <pc:sldLayoutMk cId="3049551836" sldId="2147483747"/>
              <ac:spMk id="13" creationId="{5A6D2D80-90AE-5DE4-CED6-F7FB3B27BA5A}"/>
            </ac:spMkLst>
          </pc:spChg>
          <pc:spChg chg="mod">
            <ac:chgData name="Krishna  Patel" userId="ed2200d0-4eed-40c6-ab36-78bc62005773" providerId="ADAL" clId="{3F3D50BC-FABB-49F1-9EA1-A42C0824C70C}" dt="2025-07-14T09:02:23.125" v="797" actId="1035"/>
            <ac:spMkLst>
              <pc:docMk/>
              <pc:sldMasterMk cId="2330087042" sldId="2147483691"/>
              <pc:sldLayoutMk cId="3049551836" sldId="2147483747"/>
              <ac:spMk id="14" creationId="{6056221C-277B-6B2E-0E97-D14AEA04F06B}"/>
            </ac:spMkLst>
          </pc:spChg>
          <pc:spChg chg="mod">
            <ac:chgData name="Krishna  Patel" userId="ed2200d0-4eed-40c6-ab36-78bc62005773" providerId="ADAL" clId="{3F3D50BC-FABB-49F1-9EA1-A42C0824C70C}" dt="2025-07-14T09:02:23.125" v="797" actId="1035"/>
            <ac:spMkLst>
              <pc:docMk/>
              <pc:sldMasterMk cId="2330087042" sldId="2147483691"/>
              <pc:sldLayoutMk cId="3049551836" sldId="2147483747"/>
              <ac:spMk id="15" creationId="{ED0B1ADC-67C1-373F-9E0E-A84458C8DBFB}"/>
            </ac:spMkLst>
          </pc:spChg>
        </pc:sldLayoutChg>
      </pc:sldMasterChg>
    </pc:docChg>
  </pc:docChgLst>
  <pc:docChgLst>
    <pc:chgData name="Divya Rank" userId="8a86f94f-bc51-45b1-baba-7f5d30607298" providerId="ADAL" clId="{D06E03E1-5C1C-4BC6-A786-1AE8975BA061}"/>
    <pc:docChg chg="undo custSel modSld">
      <pc:chgData name="Divya Rank" userId="8a86f94f-bc51-45b1-baba-7f5d30607298" providerId="ADAL" clId="{D06E03E1-5C1C-4BC6-A786-1AE8975BA061}" dt="2025-07-25T09:02:48.780" v="59" actId="207"/>
      <pc:docMkLst>
        <pc:docMk/>
      </pc:docMkLst>
      <pc:sldChg chg="delSp mod">
        <pc:chgData name="Divya Rank" userId="8a86f94f-bc51-45b1-baba-7f5d30607298" providerId="ADAL" clId="{D06E03E1-5C1C-4BC6-A786-1AE8975BA061}" dt="2025-07-25T08:48:47.015" v="58" actId="478"/>
        <pc:sldMkLst>
          <pc:docMk/>
          <pc:sldMk cId="2277864623" sldId="265"/>
        </pc:sldMkLst>
        <pc:spChg chg="del">
          <ac:chgData name="Divya Rank" userId="8a86f94f-bc51-45b1-baba-7f5d30607298" providerId="ADAL" clId="{D06E03E1-5C1C-4BC6-A786-1AE8975BA061}" dt="2025-07-25T08:48:47.015" v="58" actId="478"/>
          <ac:spMkLst>
            <pc:docMk/>
            <pc:sldMk cId="2277864623" sldId="265"/>
            <ac:spMk id="11" creationId="{6B44B3B6-781B-FD0B-E0FC-D562C05C3EE4}"/>
          </ac:spMkLst>
        </pc:spChg>
      </pc:sldChg>
      <pc:sldChg chg="addSp modSp mod">
        <pc:chgData name="Divya Rank" userId="8a86f94f-bc51-45b1-baba-7f5d30607298" providerId="ADAL" clId="{D06E03E1-5C1C-4BC6-A786-1AE8975BA061}" dt="2025-07-18T11:05:15.536" v="35" actId="1076"/>
        <pc:sldMkLst>
          <pc:docMk/>
          <pc:sldMk cId="800513612" sldId="2147470800"/>
        </pc:sldMkLst>
        <pc:spChg chg="add mod">
          <ac:chgData name="Divya Rank" userId="8a86f94f-bc51-45b1-baba-7f5d30607298" providerId="ADAL" clId="{D06E03E1-5C1C-4BC6-A786-1AE8975BA061}" dt="2025-07-18T11:05:15.536" v="35" actId="1076"/>
          <ac:spMkLst>
            <pc:docMk/>
            <pc:sldMk cId="800513612" sldId="2147470800"/>
            <ac:spMk id="5" creationId="{2D0418BB-2F49-BC11-7968-20EC3FF72F8B}"/>
          </ac:spMkLst>
        </pc:spChg>
      </pc:sldChg>
      <pc:sldChg chg="addSp modSp">
        <pc:chgData name="Divya Rank" userId="8a86f94f-bc51-45b1-baba-7f5d30607298" providerId="ADAL" clId="{D06E03E1-5C1C-4BC6-A786-1AE8975BA061}" dt="2025-07-18T11:06:49.255" v="41"/>
        <pc:sldMkLst>
          <pc:docMk/>
          <pc:sldMk cId="3714255659" sldId="2147470802"/>
        </pc:sldMkLst>
        <pc:spChg chg="add mod">
          <ac:chgData name="Divya Rank" userId="8a86f94f-bc51-45b1-baba-7f5d30607298" providerId="ADAL" clId="{D06E03E1-5C1C-4BC6-A786-1AE8975BA061}" dt="2025-07-18T11:06:49.255" v="41"/>
          <ac:spMkLst>
            <pc:docMk/>
            <pc:sldMk cId="3714255659" sldId="2147470802"/>
            <ac:spMk id="4" creationId="{B4E966E3-9CC9-E650-3B0D-F1B12DFE49BB}"/>
          </ac:spMkLst>
        </pc:spChg>
      </pc:sldChg>
      <pc:sldChg chg="addSp modSp">
        <pc:chgData name="Divya Rank" userId="8a86f94f-bc51-45b1-baba-7f5d30607298" providerId="ADAL" clId="{D06E03E1-5C1C-4BC6-A786-1AE8975BA061}" dt="2025-07-18T11:06:19.287" v="40"/>
        <pc:sldMkLst>
          <pc:docMk/>
          <pc:sldMk cId="1009956325" sldId="2147470804"/>
        </pc:sldMkLst>
        <pc:spChg chg="add mod">
          <ac:chgData name="Divya Rank" userId="8a86f94f-bc51-45b1-baba-7f5d30607298" providerId="ADAL" clId="{D06E03E1-5C1C-4BC6-A786-1AE8975BA061}" dt="2025-07-18T11:06:19.287" v="40"/>
          <ac:spMkLst>
            <pc:docMk/>
            <pc:sldMk cId="1009956325" sldId="2147470804"/>
            <ac:spMk id="4" creationId="{21D29FA0-32E5-C039-3983-D8740ED27366}"/>
          </ac:spMkLst>
        </pc:spChg>
      </pc:sldChg>
      <pc:sldChg chg="modSp">
        <pc:chgData name="Divya Rank" userId="8a86f94f-bc51-45b1-baba-7f5d30607298" providerId="ADAL" clId="{D06E03E1-5C1C-4BC6-A786-1AE8975BA061}" dt="2025-07-25T09:02:48.780" v="59" actId="207"/>
        <pc:sldMkLst>
          <pc:docMk/>
          <pc:sldMk cId="2493574894" sldId="2147470805"/>
        </pc:sldMkLst>
        <pc:graphicFrameChg chg="mod">
          <ac:chgData name="Divya Rank" userId="8a86f94f-bc51-45b1-baba-7f5d30607298" providerId="ADAL" clId="{D06E03E1-5C1C-4BC6-A786-1AE8975BA061}" dt="2025-07-25T09:02:48.780" v="59" actId="207"/>
          <ac:graphicFrameMkLst>
            <pc:docMk/>
            <pc:sldMk cId="2493574894" sldId="2147470805"/>
            <ac:graphicFrameMk id="2" creationId="{7AE142A3-45E1-E865-9911-9E64BCC93E72}"/>
          </ac:graphicFrameMkLst>
        </pc:graphicFrameChg>
      </pc:sldChg>
      <pc:sldChg chg="addSp modSp">
        <pc:chgData name="Divya Rank" userId="8a86f94f-bc51-45b1-baba-7f5d30607298" providerId="ADAL" clId="{D06E03E1-5C1C-4BC6-A786-1AE8975BA061}" dt="2025-07-18T11:07:27.564" v="42"/>
        <pc:sldMkLst>
          <pc:docMk/>
          <pc:sldMk cId="431090626" sldId="2147475575"/>
        </pc:sldMkLst>
        <pc:spChg chg="add mod">
          <ac:chgData name="Divya Rank" userId="8a86f94f-bc51-45b1-baba-7f5d30607298" providerId="ADAL" clId="{D06E03E1-5C1C-4BC6-A786-1AE8975BA061}" dt="2025-07-18T11:07:27.564" v="42"/>
          <ac:spMkLst>
            <pc:docMk/>
            <pc:sldMk cId="431090626" sldId="2147475575"/>
            <ac:spMk id="2" creationId="{E597D70D-11D6-DBAB-B860-58591387D8E5}"/>
          </ac:spMkLst>
        </pc:spChg>
      </pc:sldChg>
      <pc:sldChg chg="addSp delSp modSp mod">
        <pc:chgData name="Divya Rank" userId="8a86f94f-bc51-45b1-baba-7f5d30607298" providerId="ADAL" clId="{D06E03E1-5C1C-4BC6-A786-1AE8975BA061}" dt="2025-07-18T12:08:02.886" v="56" actId="1076"/>
        <pc:sldMkLst>
          <pc:docMk/>
          <pc:sldMk cId="3779621820" sldId="2147475576"/>
        </pc:sldMkLst>
        <pc:spChg chg="mod">
          <ac:chgData name="Divya Rank" userId="8a86f94f-bc51-45b1-baba-7f5d30607298" providerId="ADAL" clId="{D06E03E1-5C1C-4BC6-A786-1AE8975BA061}" dt="2025-07-18T12:08:02.886" v="56" actId="1076"/>
          <ac:spMkLst>
            <pc:docMk/>
            <pc:sldMk cId="3779621820" sldId="2147475576"/>
            <ac:spMk id="7" creationId="{479D1F2D-ADD7-1A5D-D46F-E29816A4D916}"/>
          </ac:spMkLst>
        </pc:spChg>
      </pc:sldChg>
      <pc:sldChg chg="addSp modSp">
        <pc:chgData name="Divya Rank" userId="8a86f94f-bc51-45b1-baba-7f5d30607298" providerId="ADAL" clId="{D06E03E1-5C1C-4BC6-A786-1AE8975BA061}" dt="2025-07-18T11:07:28.646" v="43"/>
        <pc:sldMkLst>
          <pc:docMk/>
          <pc:sldMk cId="1722815681" sldId="2147475580"/>
        </pc:sldMkLst>
        <pc:spChg chg="add mod">
          <ac:chgData name="Divya Rank" userId="8a86f94f-bc51-45b1-baba-7f5d30607298" providerId="ADAL" clId="{D06E03E1-5C1C-4BC6-A786-1AE8975BA061}" dt="2025-07-18T11:07:28.646" v="43"/>
          <ac:spMkLst>
            <pc:docMk/>
            <pc:sldMk cId="1722815681" sldId="2147475580"/>
            <ac:spMk id="7" creationId="{9BFF1393-D2EB-5D8D-7F0B-4D1366C5DD19}"/>
          </ac:spMkLst>
        </pc:spChg>
      </pc:sldChg>
      <pc:sldChg chg="addSp modSp">
        <pc:chgData name="Divya Rank" userId="8a86f94f-bc51-45b1-baba-7f5d30607298" providerId="ADAL" clId="{D06E03E1-5C1C-4BC6-A786-1AE8975BA061}" dt="2025-07-18T11:07:30.177" v="44"/>
        <pc:sldMkLst>
          <pc:docMk/>
          <pc:sldMk cId="3749925061" sldId="2147475582"/>
        </pc:sldMkLst>
        <pc:spChg chg="add mod">
          <ac:chgData name="Divya Rank" userId="8a86f94f-bc51-45b1-baba-7f5d30607298" providerId="ADAL" clId="{D06E03E1-5C1C-4BC6-A786-1AE8975BA061}" dt="2025-07-18T11:07:30.177" v="44"/>
          <ac:spMkLst>
            <pc:docMk/>
            <pc:sldMk cId="3749925061" sldId="2147475582"/>
            <ac:spMk id="7" creationId="{6CFF4A5B-51F9-0850-5C96-EBD2D72BB066}"/>
          </ac:spMkLst>
        </pc:spChg>
      </pc:sldChg>
      <pc:sldChg chg="addSp delSp modSp mod">
        <pc:chgData name="Divya Rank" userId="8a86f94f-bc51-45b1-baba-7f5d30607298" providerId="ADAL" clId="{D06E03E1-5C1C-4BC6-A786-1AE8975BA061}" dt="2025-07-18T11:05:57.127" v="39"/>
        <pc:sldMkLst>
          <pc:docMk/>
          <pc:sldMk cId="1096546104" sldId="2147475585"/>
        </pc:sldMkLst>
        <pc:spChg chg="add mod">
          <ac:chgData name="Divya Rank" userId="8a86f94f-bc51-45b1-baba-7f5d30607298" providerId="ADAL" clId="{D06E03E1-5C1C-4BC6-A786-1AE8975BA061}" dt="2025-07-18T11:05:57.127" v="39"/>
          <ac:spMkLst>
            <pc:docMk/>
            <pc:sldMk cId="1096546104" sldId="2147475585"/>
            <ac:spMk id="5" creationId="{69083280-057E-FD83-9FC9-45418249D952}"/>
          </ac:spMkLst>
        </pc:spChg>
      </pc:sldChg>
      <pc:sldChg chg="addSp modSp">
        <pc:chgData name="Divya Rank" userId="8a86f94f-bc51-45b1-baba-7f5d30607298" providerId="ADAL" clId="{D06E03E1-5C1C-4BC6-A786-1AE8975BA061}" dt="2025-07-18T11:05:19.026" v="36"/>
        <pc:sldMkLst>
          <pc:docMk/>
          <pc:sldMk cId="4274373587" sldId="2147475586"/>
        </pc:sldMkLst>
        <pc:spChg chg="add mod">
          <ac:chgData name="Divya Rank" userId="8a86f94f-bc51-45b1-baba-7f5d30607298" providerId="ADAL" clId="{D06E03E1-5C1C-4BC6-A786-1AE8975BA061}" dt="2025-07-18T11:05:19.026" v="36"/>
          <ac:spMkLst>
            <pc:docMk/>
            <pc:sldMk cId="4274373587" sldId="2147475586"/>
            <ac:spMk id="3" creationId="{9825E282-D871-8A3F-FBEE-6735FC583D1F}"/>
          </ac:spMkLst>
        </pc:spChg>
      </pc:sldChg>
      <pc:sldChg chg="addSp delSp modSp mod">
        <pc:chgData name="Divya Rank" userId="8a86f94f-bc51-45b1-baba-7f5d30607298" providerId="ADAL" clId="{D06E03E1-5C1C-4BC6-A786-1AE8975BA061}" dt="2025-07-18T12:08:10.254" v="57"/>
        <pc:sldMkLst>
          <pc:docMk/>
          <pc:sldMk cId="3162560195" sldId="2147475592"/>
        </pc:sldMkLst>
        <pc:spChg chg="add mod">
          <ac:chgData name="Divya Rank" userId="8a86f94f-bc51-45b1-baba-7f5d30607298" providerId="ADAL" clId="{D06E03E1-5C1C-4BC6-A786-1AE8975BA061}" dt="2025-07-18T12:08:10.254" v="57"/>
          <ac:spMkLst>
            <pc:docMk/>
            <pc:sldMk cId="3162560195" sldId="2147475592"/>
            <ac:spMk id="9" creationId="{6E5D5105-6562-ACB9-F2D9-7ADDE254A3CA}"/>
          </ac:spMkLst>
        </pc:spChg>
      </pc:sldChg>
      <pc:sldChg chg="addSp delSp modSp mod">
        <pc:chgData name="Divya Rank" userId="8a86f94f-bc51-45b1-baba-7f5d30607298" providerId="ADAL" clId="{D06E03E1-5C1C-4BC6-A786-1AE8975BA061}" dt="2025-07-18T11:09:43.033" v="54"/>
        <pc:sldMkLst>
          <pc:docMk/>
          <pc:sldMk cId="2636204081" sldId="2147475603"/>
        </pc:sldMkLst>
        <pc:spChg chg="add mod">
          <ac:chgData name="Divya Rank" userId="8a86f94f-bc51-45b1-baba-7f5d30607298" providerId="ADAL" clId="{D06E03E1-5C1C-4BC6-A786-1AE8975BA061}" dt="2025-07-18T11:09:43.033" v="54"/>
          <ac:spMkLst>
            <pc:docMk/>
            <pc:sldMk cId="2636204081" sldId="2147475603"/>
            <ac:spMk id="4" creationId="{4DF6874C-D7BF-2A46-3DEA-F8AC1BCD1424}"/>
          </ac:spMkLst>
        </pc:spChg>
      </pc:sldChg>
      <pc:sldChg chg="addSp modSp">
        <pc:chgData name="Divya Rank" userId="8a86f94f-bc51-45b1-baba-7f5d30607298" providerId="ADAL" clId="{D06E03E1-5C1C-4BC6-A786-1AE8975BA061}" dt="2025-07-18T11:10:04.627" v="55"/>
        <pc:sldMkLst>
          <pc:docMk/>
          <pc:sldMk cId="469183570" sldId="2147475614"/>
        </pc:sldMkLst>
        <pc:spChg chg="add mod">
          <ac:chgData name="Divya Rank" userId="8a86f94f-bc51-45b1-baba-7f5d30607298" providerId="ADAL" clId="{D06E03E1-5C1C-4BC6-A786-1AE8975BA061}" dt="2025-07-18T11:10:04.627" v="55"/>
          <ac:spMkLst>
            <pc:docMk/>
            <pc:sldMk cId="469183570" sldId="2147475614"/>
            <ac:spMk id="3" creationId="{229D93BD-5FFC-0749-DB33-8A70740B87A0}"/>
          </ac:spMkLst>
        </pc:spChg>
      </pc:sldChg>
    </pc:docChg>
  </pc:docChgLst>
  <pc:docChgLst>
    <pc:chgData name="Aashish Pandey" userId="S::aashish@bluedataconsulting.in::341f317d-6b43-432f-b17f-fd51a4912ac2" providerId="AD" clId="Web-{B1506BF0-648D-4E6A-9459-85225FD8FC1C}"/>
    <pc:docChg chg="addSld delSld modSld">
      <pc:chgData name="Aashish Pandey" userId="S::aashish@bluedataconsulting.in::341f317d-6b43-432f-b17f-fd51a4912ac2" providerId="AD" clId="Web-{B1506BF0-648D-4E6A-9459-85225FD8FC1C}" dt="2025-07-15T17:07:42.483" v="109" actId="20577"/>
      <pc:docMkLst>
        <pc:docMk/>
      </pc:docMkLst>
      <pc:sldChg chg="modSp mod modClrScheme chgLayout">
        <pc:chgData name="Aashish Pandey" userId="S::aashish@bluedataconsulting.in::341f317d-6b43-432f-b17f-fd51a4912ac2" providerId="AD" clId="Web-{B1506BF0-648D-4E6A-9459-85225FD8FC1C}" dt="2025-07-15T17:07:01.716" v="99"/>
        <pc:sldMkLst>
          <pc:docMk/>
          <pc:sldMk cId="2128774158" sldId="2147475642"/>
        </pc:sldMkLst>
      </pc:sldChg>
      <pc:sldChg chg="delSp modSp new mod modClrScheme chgLayout">
        <pc:chgData name="Aashish Pandey" userId="S::aashish@bluedataconsulting.in::341f317d-6b43-432f-b17f-fd51a4912ac2" providerId="AD" clId="Web-{B1506BF0-648D-4E6A-9459-85225FD8FC1C}" dt="2025-07-15T16:51:22.965" v="8" actId="20577"/>
        <pc:sldMkLst>
          <pc:docMk/>
          <pc:sldMk cId="1336602987" sldId="2147475647"/>
        </pc:sldMkLst>
        <pc:spChg chg="mod ord">
          <ac:chgData name="Aashish Pandey" userId="S::aashish@bluedataconsulting.in::341f317d-6b43-432f-b17f-fd51a4912ac2" providerId="AD" clId="Web-{B1506BF0-648D-4E6A-9459-85225FD8FC1C}" dt="2025-07-15T16:51:22.965" v="8" actId="20577"/>
          <ac:spMkLst>
            <pc:docMk/>
            <pc:sldMk cId="1336602987" sldId="2147475647"/>
            <ac:spMk id="3" creationId="{0D8F02F2-B736-ED12-603A-24FA70CEA135}"/>
          </ac:spMkLst>
        </pc:spChg>
        <pc:spChg chg="mod ord">
          <ac:chgData name="Aashish Pandey" userId="S::aashish@bluedataconsulting.in::341f317d-6b43-432f-b17f-fd51a4912ac2" providerId="AD" clId="Web-{B1506BF0-648D-4E6A-9459-85225FD8FC1C}" dt="2025-07-15T16:51:16.480" v="1"/>
          <ac:spMkLst>
            <pc:docMk/>
            <pc:sldMk cId="1336602987" sldId="2147475647"/>
            <ac:spMk id="5" creationId="{E5C4B05E-08E1-8E7D-0342-521333D5AD2A}"/>
          </ac:spMkLst>
        </pc:spChg>
        <pc:spChg chg="mod ord">
          <ac:chgData name="Aashish Pandey" userId="S::aashish@bluedataconsulting.in::341f317d-6b43-432f-b17f-fd51a4912ac2" providerId="AD" clId="Web-{B1506BF0-648D-4E6A-9459-85225FD8FC1C}" dt="2025-07-15T16:51:16.480" v="1"/>
          <ac:spMkLst>
            <pc:docMk/>
            <pc:sldMk cId="1336602987" sldId="2147475647"/>
            <ac:spMk id="6" creationId="{EE3EFF25-726A-C524-5084-8C511AE3287C}"/>
          </ac:spMkLst>
        </pc:spChg>
      </pc:sldChg>
      <pc:sldChg chg="delSp modSp new mod modClrScheme chgLayout">
        <pc:chgData name="Aashish Pandey" userId="S::aashish@bluedataconsulting.in::341f317d-6b43-432f-b17f-fd51a4912ac2" providerId="AD" clId="Web-{B1506BF0-648D-4E6A-9459-85225FD8FC1C}" dt="2025-07-15T16:56:32.783" v="20" actId="20577"/>
        <pc:sldMkLst>
          <pc:docMk/>
          <pc:sldMk cId="2137044402" sldId="2147475648"/>
        </pc:sldMkLst>
        <pc:spChg chg="mod ord">
          <ac:chgData name="Aashish Pandey" userId="S::aashish@bluedataconsulting.in::341f317d-6b43-432f-b17f-fd51a4912ac2" providerId="AD" clId="Web-{B1506BF0-648D-4E6A-9459-85225FD8FC1C}" dt="2025-07-15T16:51:50.075" v="18" actId="20577"/>
          <ac:spMkLst>
            <pc:docMk/>
            <pc:sldMk cId="2137044402" sldId="2147475648"/>
            <ac:spMk id="3" creationId="{4D31C4B3-6D1C-D463-2A38-F16649A8D061}"/>
          </ac:spMkLst>
        </pc:spChg>
        <pc:spChg chg="mod ord">
          <ac:chgData name="Aashish Pandey" userId="S::aashish@bluedataconsulting.in::341f317d-6b43-432f-b17f-fd51a4912ac2" providerId="AD" clId="Web-{B1506BF0-648D-4E6A-9459-85225FD8FC1C}" dt="2025-07-15T16:51:42.184" v="10"/>
          <ac:spMkLst>
            <pc:docMk/>
            <pc:sldMk cId="2137044402" sldId="2147475648"/>
            <ac:spMk id="4" creationId="{1BEFA075-5502-988A-1E12-189C7B1D36FB}"/>
          </ac:spMkLst>
        </pc:spChg>
        <pc:spChg chg="mod ord">
          <ac:chgData name="Aashish Pandey" userId="S::aashish@bluedataconsulting.in::341f317d-6b43-432f-b17f-fd51a4912ac2" providerId="AD" clId="Web-{B1506BF0-648D-4E6A-9459-85225FD8FC1C}" dt="2025-07-15T16:51:42.184" v="10"/>
          <ac:spMkLst>
            <pc:docMk/>
            <pc:sldMk cId="2137044402" sldId="2147475648"/>
            <ac:spMk id="5" creationId="{88F80F67-B64C-4419-9BBE-F1E9029D9EFF}"/>
          </ac:spMkLst>
        </pc:spChg>
      </pc:sldChg>
      <pc:sldChg chg="modSp add replId">
        <pc:chgData name="Aashish Pandey" userId="S::aashish@bluedataconsulting.in::341f317d-6b43-432f-b17f-fd51a4912ac2" providerId="AD" clId="Web-{B1506BF0-648D-4E6A-9459-85225FD8FC1C}" dt="2025-07-15T17:00:14.928" v="50" actId="20577"/>
        <pc:sldMkLst>
          <pc:docMk/>
          <pc:sldMk cId="2145023399" sldId="2147475649"/>
        </pc:sldMkLst>
        <pc:spChg chg="mod">
          <ac:chgData name="Aashish Pandey" userId="S::aashish@bluedataconsulting.in::341f317d-6b43-432f-b17f-fd51a4912ac2" providerId="AD" clId="Web-{B1506BF0-648D-4E6A-9459-85225FD8FC1C}" dt="2025-07-15T17:00:14.928" v="50" actId="20577"/>
          <ac:spMkLst>
            <pc:docMk/>
            <pc:sldMk cId="2145023399" sldId="2147475649"/>
            <ac:spMk id="10" creationId="{AC80D06D-EE25-A47D-1701-6DC97C874403}"/>
          </ac:spMkLst>
        </pc:spChg>
      </pc:sldChg>
      <pc:sldChg chg="modSp add replId">
        <pc:chgData name="Aashish Pandey" userId="S::aashish@bluedataconsulting.in::341f317d-6b43-432f-b17f-fd51a4912ac2" providerId="AD" clId="Web-{B1506BF0-648D-4E6A-9459-85225FD8FC1C}" dt="2025-07-15T17:07:42.483" v="109" actId="20577"/>
        <pc:sldMkLst>
          <pc:docMk/>
          <pc:sldMk cId="2775602384" sldId="2147475650"/>
        </pc:sldMkLst>
        <pc:spChg chg="mod">
          <ac:chgData name="Aashish Pandey" userId="S::aashish@bluedataconsulting.in::341f317d-6b43-432f-b17f-fd51a4912ac2" providerId="AD" clId="Web-{B1506BF0-648D-4E6A-9459-85225FD8FC1C}" dt="2025-07-15T17:07:42.483" v="109" actId="20577"/>
          <ac:spMkLst>
            <pc:docMk/>
            <pc:sldMk cId="2775602384" sldId="2147475650"/>
            <ac:spMk id="10" creationId="{9FA2698F-7298-8121-C03B-9B1B90173267}"/>
          </ac:spMkLst>
        </pc:spChg>
      </pc:sldChg>
      <pc:sldChg chg="addSp delSp modSp add replId delAnim">
        <pc:chgData name="Aashish Pandey" userId="S::aashish@bluedataconsulting.in::341f317d-6b43-432f-b17f-fd51a4912ac2" providerId="AD" clId="Web-{B1506BF0-648D-4E6A-9459-85225FD8FC1C}" dt="2025-07-15T17:02:02.336" v="71"/>
        <pc:sldMkLst>
          <pc:docMk/>
          <pc:sldMk cId="3903429302" sldId="2147475651"/>
        </pc:sldMkLst>
      </pc:sldChg>
      <pc:sldChg chg="addSp delSp modSp add replId delAnim">
        <pc:chgData name="Aashish Pandey" userId="S::aashish@bluedataconsulting.in::341f317d-6b43-432f-b17f-fd51a4912ac2" providerId="AD" clId="Web-{B1506BF0-648D-4E6A-9459-85225FD8FC1C}" dt="2025-07-15T17:05:51.387" v="96"/>
        <pc:sldMkLst>
          <pc:docMk/>
          <pc:sldMk cId="3316371110" sldId="2147475652"/>
        </pc:sldMkLst>
        <pc:spChg chg="mod">
          <ac:chgData name="Aashish Pandey" userId="S::aashish@bluedataconsulting.in::341f317d-6b43-432f-b17f-fd51a4912ac2" providerId="AD" clId="Web-{B1506BF0-648D-4E6A-9459-85225FD8FC1C}" dt="2025-07-15T17:05:01.308" v="85" actId="14100"/>
          <ac:spMkLst>
            <pc:docMk/>
            <pc:sldMk cId="3316371110" sldId="2147475652"/>
            <ac:spMk id="11" creationId="{FB741FE3-E2CA-7E81-5F6C-DA0911CDD537}"/>
          </ac:spMkLst>
        </pc:spChg>
      </pc:sldChg>
      <pc:sldChg chg="new del">
        <pc:chgData name="Aashish Pandey" userId="S::aashish@bluedataconsulting.in::341f317d-6b43-432f-b17f-fd51a4912ac2" providerId="AD" clId="Web-{B1506BF0-648D-4E6A-9459-85225FD8FC1C}" dt="2025-07-15T17:06:46.075" v="98"/>
        <pc:sldMkLst>
          <pc:docMk/>
          <pc:sldMk cId="1137197932" sldId="2147475653"/>
        </pc:sldMkLst>
      </pc:sldChg>
      <pc:sldChg chg="modSp new mod modClrScheme chgLayout">
        <pc:chgData name="Aashish Pandey" userId="S::aashish@bluedataconsulting.in::341f317d-6b43-432f-b17f-fd51a4912ac2" providerId="AD" clId="Web-{B1506BF0-648D-4E6A-9459-85225FD8FC1C}" dt="2025-07-15T17:07:25.357" v="103" actId="20577"/>
        <pc:sldMkLst>
          <pc:docMk/>
          <pc:sldMk cId="4061387328" sldId="2147475653"/>
        </pc:sldMkLst>
        <pc:spChg chg="mod ord">
          <ac:chgData name="Aashish Pandey" userId="S::aashish@bluedataconsulting.in::341f317d-6b43-432f-b17f-fd51a4912ac2" providerId="AD" clId="Web-{B1506BF0-648D-4E6A-9459-85225FD8FC1C}" dt="2025-07-15T17:07:16.092" v="101"/>
          <ac:spMkLst>
            <pc:docMk/>
            <pc:sldMk cId="4061387328" sldId="2147475653"/>
            <ac:spMk id="3" creationId="{8BC46F08-DA1F-8BBB-D51B-4241E4E1FFB6}"/>
          </ac:spMkLst>
        </pc:spChg>
        <pc:spChg chg="mod ord">
          <ac:chgData name="Aashish Pandey" userId="S::aashish@bluedataconsulting.in::341f317d-6b43-432f-b17f-fd51a4912ac2" providerId="AD" clId="Web-{B1506BF0-648D-4E6A-9459-85225FD8FC1C}" dt="2025-07-15T17:07:25.357" v="103" actId="20577"/>
          <ac:spMkLst>
            <pc:docMk/>
            <pc:sldMk cId="4061387328" sldId="2147475653"/>
            <ac:spMk id="4" creationId="{F50E2AB4-3909-5AB6-94AD-F61CC2A2B9E4}"/>
          </ac:spMkLst>
        </pc:spChg>
        <pc:spChg chg="mod ord">
          <ac:chgData name="Aashish Pandey" userId="S::aashish@bluedataconsulting.in::341f317d-6b43-432f-b17f-fd51a4912ac2" providerId="AD" clId="Web-{B1506BF0-648D-4E6A-9459-85225FD8FC1C}" dt="2025-07-15T17:07:16.092" v="101"/>
          <ac:spMkLst>
            <pc:docMk/>
            <pc:sldMk cId="4061387328" sldId="2147475653"/>
            <ac:spMk id="5" creationId="{0B838917-2978-7AEA-B27C-BC33482F5A44}"/>
          </ac:spMkLst>
        </pc:spChg>
        <pc:spChg chg="mod ord">
          <ac:chgData name="Aashish Pandey" userId="S::aashish@bluedataconsulting.in::341f317d-6b43-432f-b17f-fd51a4912ac2" providerId="AD" clId="Web-{B1506BF0-648D-4E6A-9459-85225FD8FC1C}" dt="2025-07-15T17:07:16.092" v="101"/>
          <ac:spMkLst>
            <pc:docMk/>
            <pc:sldMk cId="4061387328" sldId="2147475653"/>
            <ac:spMk id="6" creationId="{D3811A5A-F1D8-AF24-2363-593B54F5CBF4}"/>
          </ac:spMkLst>
        </pc:spChg>
        <pc:spChg chg="mod ord">
          <ac:chgData name="Aashish Pandey" userId="S::aashish@bluedataconsulting.in::341f317d-6b43-432f-b17f-fd51a4912ac2" providerId="AD" clId="Web-{B1506BF0-648D-4E6A-9459-85225FD8FC1C}" dt="2025-07-15T17:07:16.092" v="101"/>
          <ac:spMkLst>
            <pc:docMk/>
            <pc:sldMk cId="4061387328" sldId="2147475653"/>
            <ac:spMk id="7" creationId="{EDF98FFC-0328-81D2-2AEF-F665F35C123D}"/>
          </ac:spMkLst>
        </pc:spChg>
      </pc:sldChg>
    </pc:docChg>
  </pc:docChgLst>
</pc:chgInfo>
</file>

<file path=ppt/comments/modernComment_7FFFCDD8_2DC5D16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7767D57-A21E-4434-8AE5-2190D7C8C7BA}" authorId="{AD864A01-FE78-8DE4-4C88-D1CEDECED5C1}" status="resolved" created="2025-07-14T11:44:04.857" startDate="2025-07-14T11:44:04.857" dueDate="2025-07-14T11:44:04.857" assignedTo="{7BF29B3F-3C2F-7F11-ECF5-894873F8C38F}" complete="100000" title="@Krishna Patel can u please enhance quality of image">
    <pc:sldMkLst xmlns:pc="http://schemas.microsoft.com/office/powerpoint/2013/main/command">
      <pc:docMk/>
      <pc:sldMk cId="767938927" sldId="2147470808"/>
    </pc:sldMkLst>
    <p188:txBody>
      <a:bodyPr/>
      <a:lstStyle/>
      <a:p>
        <a:r>
          <a:rPr lang="en-US"/>
          <a:t>[@Krishna  Patel] can u please enhance quality of image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>
            <p228:event time="2025-07-14T11:44:04.857" id="{715265AD-EDB8-4ACD-9F9B-B21501423340}">
              <p228:atrbtn authorId="{AD864A01-FE78-8DE4-4C88-D1CEDECED5C1}"/>
              <p228:anchr>
                <p228:comment id="{47767D57-A21E-4434-8AE5-2190D7C8C7BA}"/>
              </p228:anchr>
              <p228:add/>
            </p228:event>
            <p228:event time="2025-07-14T11:44:04.857" id="{38757F34-2C13-400B-B893-CA03199F2434}">
              <p228:atrbtn authorId="{AD864A01-FE78-8DE4-4C88-D1CEDECED5C1}"/>
              <p228:anchr>
                <p228:comment id="{47767D57-A21E-4434-8AE5-2190D7C8C7BA}"/>
              </p228:anchr>
              <p228:asgn authorId="{7BF29B3F-3C2F-7F11-ECF5-894873F8C38F}"/>
            </p228:event>
            <p228:event time="2025-07-14T11:44:04.857" id="{318AA271-ACD7-456B-81E8-76501C8A8FBB}">
              <p228:atrbtn authorId="{AD864A01-FE78-8DE4-4C88-D1CEDECED5C1}"/>
              <p228:anchr>
                <p228:comment id="{47767D57-A21E-4434-8AE5-2190D7C8C7BA}"/>
              </p228:anchr>
              <p228:title val="@Krishna Patel can u please enhance quality of image"/>
            </p228:event>
            <p228:event time="2025-07-14T11:44:04.857" id="{187D8666-347F-40A6-9D47-BBFAF63E8A5F}">
              <p228:atrbtn authorId="{AD864A01-FE78-8DE4-4C88-D1CEDECED5C1}"/>
              <p228:anchr>
                <p228:comment id="{47767D57-A21E-4434-8AE5-2190D7C8C7BA}"/>
              </p228:anchr>
              <p228:date stDt="2025-07-14T11:44:04.857" endDt="2025-07-14T11:44:04.857"/>
            </p228:event>
            <p228:event time="2025-07-16T11:40:05.326" id="{52638B10-5C56-4EA2-9042-1F7FFB107AF0}">
              <p228:atrbtn authorId="{7BF29B3F-3C2F-7F11-ECF5-894873F8C38F}"/>
              <p228:anchr>
                <p228:comment id="{00000000-0000-0000-0000-000000000000}"/>
              </p228:anchr>
              <p228:pcntCmplt val="100000"/>
            </p228:event>
          </p228:history>
        </p228:taskDetails>
      </p:ext>
    </p188:extLst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978739C-D6E5-4470-8F26-371927141F4C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IN"/>
        </a:p>
      </dgm:t>
    </dgm:pt>
    <dgm:pt modelId="{2433F1F6-402B-4F6C-9289-E7AD16DF612C}">
      <dgm:prSet custT="1"/>
      <dgm:spPr>
        <a:solidFill>
          <a:srgbClr val="F2EFED"/>
        </a:solidFill>
      </dgm:spPr>
      <dgm:t>
        <a:bodyPr/>
        <a:lstStyle/>
        <a:p>
          <a:r>
            <a:rPr lang="en-US" sz="1600">
              <a:solidFill>
                <a:schemeClr val="tx1"/>
              </a:solidFill>
            </a:rPr>
            <a:t>Understand what is Internet of Things (IoT) </a:t>
          </a:r>
          <a:endParaRPr lang="en-IN" sz="1600">
            <a:solidFill>
              <a:schemeClr val="tx1"/>
            </a:solidFill>
          </a:endParaRPr>
        </a:p>
      </dgm:t>
    </dgm:pt>
    <dgm:pt modelId="{12021C18-78FB-48C6-8780-1CE1FE85FB21}" type="parTrans" cxnId="{25BD8754-F2BD-4222-B86D-DC5A101F10AB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C3D66242-297E-4FEE-822D-77330EE524BD}" type="sibTrans" cxnId="{25BD8754-F2BD-4222-B86D-DC5A101F10AB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7E35B4F0-C6D9-46C7-8D15-FB3FB84A5753}">
      <dgm:prSet custT="1"/>
      <dgm:spPr/>
      <dgm:t>
        <a:bodyPr/>
        <a:lstStyle/>
        <a:p>
          <a:r>
            <a:rPr lang="en-US" sz="1600">
              <a:solidFill>
                <a:schemeClr val="tx1"/>
              </a:solidFill>
            </a:rPr>
            <a:t>Explore how IoT works, including how devices connect and exchange data.</a:t>
          </a:r>
          <a:endParaRPr lang="en-IN" sz="1600">
            <a:solidFill>
              <a:schemeClr val="tx1"/>
            </a:solidFill>
          </a:endParaRPr>
        </a:p>
      </dgm:t>
    </dgm:pt>
    <dgm:pt modelId="{82CFB93D-1FDC-41F6-8E07-64773BB98EED}" type="parTrans" cxnId="{FFA0534A-64A7-48C3-BDD3-BD045F9DE436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BC50D250-B9C6-4313-AA17-559D6F362E79}" type="sibTrans" cxnId="{FFA0534A-64A7-48C3-BDD3-BD045F9DE436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75A0AE73-9011-4D3B-9D01-DB0ACC825D24}">
      <dgm:prSet custT="1"/>
      <dgm:spPr/>
      <dgm:t>
        <a:bodyPr/>
        <a:lstStyle/>
        <a:p>
          <a:r>
            <a:rPr lang="en-US" sz="1600">
              <a:solidFill>
                <a:schemeClr val="tx1"/>
              </a:solidFill>
            </a:rPr>
            <a:t>Understand what Industrial IoT (IIoT) is and how it differs from consumer IoT.</a:t>
          </a:r>
          <a:endParaRPr lang="en-IN" sz="1600">
            <a:solidFill>
              <a:schemeClr val="tx1"/>
            </a:solidFill>
          </a:endParaRPr>
        </a:p>
      </dgm:t>
    </dgm:pt>
    <dgm:pt modelId="{F2277653-ADCE-40D1-AED8-40507C086D6D}" type="parTrans" cxnId="{D68D038F-3FC0-4FB8-8164-4F9726B5DAB8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308D0636-903F-4BA3-AC9B-A0A394352929}" type="sibTrans" cxnId="{D68D038F-3FC0-4FB8-8164-4F9726B5DAB8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13439D70-91E5-4B4E-AD6F-269E351C5DD5}">
      <dgm:prSet custT="1"/>
      <dgm:spPr/>
      <dgm:t>
        <a:bodyPr/>
        <a:lstStyle/>
        <a:p>
          <a:r>
            <a:rPr lang="en-US" sz="1600">
              <a:solidFill>
                <a:schemeClr val="tx1"/>
              </a:solidFill>
            </a:rPr>
            <a:t>Evaluate how IIoT has evolved over time and its key technology drivers.</a:t>
          </a:r>
          <a:endParaRPr lang="en-IN" sz="1600">
            <a:solidFill>
              <a:schemeClr val="tx1"/>
            </a:solidFill>
          </a:endParaRPr>
        </a:p>
      </dgm:t>
    </dgm:pt>
    <dgm:pt modelId="{BBE4FB46-5CE6-40E9-BE37-314147F4C6C6}" type="parTrans" cxnId="{0B9E782D-96FB-4FD3-B8A4-6089DD030D85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6BD01697-5899-4482-85B3-7B360DA43517}" type="sibTrans" cxnId="{0B9E782D-96FB-4FD3-B8A4-6089DD030D85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100225F5-B563-4271-B8B8-7A105DF9E9EE}">
      <dgm:prSet custT="1"/>
      <dgm:spPr/>
      <dgm:t>
        <a:bodyPr/>
        <a:lstStyle/>
        <a:p>
          <a:r>
            <a:rPr lang="en-US" sz="1600">
              <a:solidFill>
                <a:schemeClr val="tx1"/>
              </a:solidFill>
            </a:rPr>
            <a:t>Explain how IIoT works in real industrial environments.</a:t>
          </a:r>
          <a:endParaRPr lang="en-IN" sz="1600">
            <a:solidFill>
              <a:schemeClr val="tx1"/>
            </a:solidFill>
          </a:endParaRPr>
        </a:p>
      </dgm:t>
    </dgm:pt>
    <dgm:pt modelId="{74D1E977-CAB5-4878-9144-44C6F5721AE5}" type="parTrans" cxnId="{772A8A1B-1B7C-498A-A02F-32E70902397A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26C26F63-45F7-41AB-8F8C-2C7243D2A684}" type="sibTrans" cxnId="{772A8A1B-1B7C-498A-A02F-32E70902397A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9A3BA8D6-94A2-4FFE-A097-2762A5D2D2AE}">
      <dgm:prSet custT="1"/>
      <dgm:spPr/>
      <dgm:t>
        <a:bodyPr/>
        <a:lstStyle/>
        <a:p>
          <a:r>
            <a:rPr lang="en-US" sz="1600">
              <a:solidFill>
                <a:schemeClr val="tx1"/>
              </a:solidFill>
            </a:rPr>
            <a:t>Analyze practical case studies and success stories to see IIoT in action.</a:t>
          </a:r>
          <a:endParaRPr lang="en-IN" sz="1600">
            <a:solidFill>
              <a:schemeClr val="tx1"/>
            </a:solidFill>
          </a:endParaRPr>
        </a:p>
      </dgm:t>
    </dgm:pt>
    <dgm:pt modelId="{23BB3E99-0C11-4314-AB17-130137F38B9F}" type="parTrans" cxnId="{8E04D455-3B89-4E8D-A854-4274904B34F3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16D9D6E7-61A8-4E97-993A-63669465AEBD}" type="sibTrans" cxnId="{8E04D455-3B89-4E8D-A854-4274904B34F3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0F0E5341-522C-4574-A1AD-1798AD510829}" type="pres">
      <dgm:prSet presAssocID="{9978739C-D6E5-4470-8F26-371927141F4C}" presName="linear" presStyleCnt="0">
        <dgm:presLayoutVars>
          <dgm:animLvl val="lvl"/>
          <dgm:resizeHandles val="exact"/>
        </dgm:presLayoutVars>
      </dgm:prSet>
      <dgm:spPr/>
    </dgm:pt>
    <dgm:pt modelId="{B18A1651-0266-497C-9949-7A0B900E26D9}" type="pres">
      <dgm:prSet presAssocID="{2433F1F6-402B-4F6C-9289-E7AD16DF612C}" presName="parentText" presStyleLbl="node1" presStyleIdx="0" presStyleCnt="6">
        <dgm:presLayoutVars>
          <dgm:chMax val="0"/>
          <dgm:bulletEnabled val="1"/>
        </dgm:presLayoutVars>
      </dgm:prSet>
      <dgm:spPr/>
    </dgm:pt>
    <dgm:pt modelId="{6A35C280-B78B-4C04-B46F-0D0D9B1872CA}" type="pres">
      <dgm:prSet presAssocID="{C3D66242-297E-4FEE-822D-77330EE524BD}" presName="spacer" presStyleCnt="0"/>
      <dgm:spPr/>
    </dgm:pt>
    <dgm:pt modelId="{9B011AA0-66AA-4CDA-BB13-B4C7CFBC6702}" type="pres">
      <dgm:prSet presAssocID="{7E35B4F0-C6D9-46C7-8D15-FB3FB84A5753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190C8BF4-A215-4205-8574-A2723960D302}" type="pres">
      <dgm:prSet presAssocID="{BC50D250-B9C6-4313-AA17-559D6F362E79}" presName="spacer" presStyleCnt="0"/>
      <dgm:spPr/>
    </dgm:pt>
    <dgm:pt modelId="{022BB7A6-AA52-4560-BCE7-E63767FDAE20}" type="pres">
      <dgm:prSet presAssocID="{75A0AE73-9011-4D3B-9D01-DB0ACC825D24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1A8DB503-1E0D-46BC-B14B-093661D13885}" type="pres">
      <dgm:prSet presAssocID="{308D0636-903F-4BA3-AC9B-A0A394352929}" presName="spacer" presStyleCnt="0"/>
      <dgm:spPr/>
    </dgm:pt>
    <dgm:pt modelId="{EE8F3D81-ED4D-4612-BFF8-776DFBB0CD11}" type="pres">
      <dgm:prSet presAssocID="{13439D70-91E5-4B4E-AD6F-269E351C5DD5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B84FA2CB-0462-4643-81BA-84E465962787}" type="pres">
      <dgm:prSet presAssocID="{6BD01697-5899-4482-85B3-7B360DA43517}" presName="spacer" presStyleCnt="0"/>
      <dgm:spPr/>
    </dgm:pt>
    <dgm:pt modelId="{394B7AB6-53F0-44EB-BE6C-BF940AE97302}" type="pres">
      <dgm:prSet presAssocID="{100225F5-B563-4271-B8B8-7A105DF9E9EE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A1A3434C-27B6-4D0C-8548-18EB20620D50}" type="pres">
      <dgm:prSet presAssocID="{26C26F63-45F7-41AB-8F8C-2C7243D2A684}" presName="spacer" presStyleCnt="0"/>
      <dgm:spPr/>
    </dgm:pt>
    <dgm:pt modelId="{AED932ED-CA34-4011-9EC8-BA4C2A021B78}" type="pres">
      <dgm:prSet presAssocID="{9A3BA8D6-94A2-4FFE-A097-2762A5D2D2AE}" presName="parentText" presStyleLbl="node1" presStyleIdx="5" presStyleCnt="6">
        <dgm:presLayoutVars>
          <dgm:chMax val="0"/>
          <dgm:bulletEnabled val="1"/>
        </dgm:presLayoutVars>
      </dgm:prSet>
      <dgm:spPr/>
    </dgm:pt>
  </dgm:ptLst>
  <dgm:cxnLst>
    <dgm:cxn modelId="{09FA780E-D7B7-4470-AA36-941721DBA6EF}" type="presOf" srcId="{2433F1F6-402B-4F6C-9289-E7AD16DF612C}" destId="{B18A1651-0266-497C-9949-7A0B900E26D9}" srcOrd="0" destOrd="0" presId="urn:microsoft.com/office/officeart/2005/8/layout/vList2"/>
    <dgm:cxn modelId="{772A8A1B-1B7C-498A-A02F-32E70902397A}" srcId="{9978739C-D6E5-4470-8F26-371927141F4C}" destId="{100225F5-B563-4271-B8B8-7A105DF9E9EE}" srcOrd="4" destOrd="0" parTransId="{74D1E977-CAB5-4878-9144-44C6F5721AE5}" sibTransId="{26C26F63-45F7-41AB-8F8C-2C7243D2A684}"/>
    <dgm:cxn modelId="{E1203822-DB01-43F3-96FD-6C8D2B454B83}" type="presOf" srcId="{75A0AE73-9011-4D3B-9D01-DB0ACC825D24}" destId="{022BB7A6-AA52-4560-BCE7-E63767FDAE20}" srcOrd="0" destOrd="0" presId="urn:microsoft.com/office/officeart/2005/8/layout/vList2"/>
    <dgm:cxn modelId="{0B9E782D-96FB-4FD3-B8A4-6089DD030D85}" srcId="{9978739C-D6E5-4470-8F26-371927141F4C}" destId="{13439D70-91E5-4B4E-AD6F-269E351C5DD5}" srcOrd="3" destOrd="0" parTransId="{BBE4FB46-5CE6-40E9-BE37-314147F4C6C6}" sibTransId="{6BD01697-5899-4482-85B3-7B360DA43517}"/>
    <dgm:cxn modelId="{B1700E44-0BA2-4432-9C21-ECAFA33EEFB4}" type="presOf" srcId="{9978739C-D6E5-4470-8F26-371927141F4C}" destId="{0F0E5341-522C-4574-A1AD-1798AD510829}" srcOrd="0" destOrd="0" presId="urn:microsoft.com/office/officeart/2005/8/layout/vList2"/>
    <dgm:cxn modelId="{DF568849-CD61-462F-B949-4C56CA487FF2}" type="presOf" srcId="{100225F5-B563-4271-B8B8-7A105DF9E9EE}" destId="{394B7AB6-53F0-44EB-BE6C-BF940AE97302}" srcOrd="0" destOrd="0" presId="urn:microsoft.com/office/officeart/2005/8/layout/vList2"/>
    <dgm:cxn modelId="{FFA0534A-64A7-48C3-BDD3-BD045F9DE436}" srcId="{9978739C-D6E5-4470-8F26-371927141F4C}" destId="{7E35B4F0-C6D9-46C7-8D15-FB3FB84A5753}" srcOrd="1" destOrd="0" parTransId="{82CFB93D-1FDC-41F6-8E07-64773BB98EED}" sibTransId="{BC50D250-B9C6-4313-AA17-559D6F362E79}"/>
    <dgm:cxn modelId="{25BD8754-F2BD-4222-B86D-DC5A101F10AB}" srcId="{9978739C-D6E5-4470-8F26-371927141F4C}" destId="{2433F1F6-402B-4F6C-9289-E7AD16DF612C}" srcOrd="0" destOrd="0" parTransId="{12021C18-78FB-48C6-8780-1CE1FE85FB21}" sibTransId="{C3D66242-297E-4FEE-822D-77330EE524BD}"/>
    <dgm:cxn modelId="{8E04D455-3B89-4E8D-A854-4274904B34F3}" srcId="{9978739C-D6E5-4470-8F26-371927141F4C}" destId="{9A3BA8D6-94A2-4FFE-A097-2762A5D2D2AE}" srcOrd="5" destOrd="0" parTransId="{23BB3E99-0C11-4314-AB17-130137F38B9F}" sibTransId="{16D9D6E7-61A8-4E97-993A-63669465AEBD}"/>
    <dgm:cxn modelId="{19DECB7C-6FC3-4D67-AE79-FDC4C354F593}" type="presOf" srcId="{9A3BA8D6-94A2-4FFE-A097-2762A5D2D2AE}" destId="{AED932ED-CA34-4011-9EC8-BA4C2A021B78}" srcOrd="0" destOrd="0" presId="urn:microsoft.com/office/officeart/2005/8/layout/vList2"/>
    <dgm:cxn modelId="{D68D038F-3FC0-4FB8-8164-4F9726B5DAB8}" srcId="{9978739C-D6E5-4470-8F26-371927141F4C}" destId="{75A0AE73-9011-4D3B-9D01-DB0ACC825D24}" srcOrd="2" destOrd="0" parTransId="{F2277653-ADCE-40D1-AED8-40507C086D6D}" sibTransId="{308D0636-903F-4BA3-AC9B-A0A394352929}"/>
    <dgm:cxn modelId="{2FE143F2-F9D2-4CEF-B7D8-3BCDA9B63B00}" type="presOf" srcId="{13439D70-91E5-4B4E-AD6F-269E351C5DD5}" destId="{EE8F3D81-ED4D-4612-BFF8-776DFBB0CD11}" srcOrd="0" destOrd="0" presId="urn:microsoft.com/office/officeart/2005/8/layout/vList2"/>
    <dgm:cxn modelId="{D84557F5-BBF3-4494-98D3-BC7354587109}" type="presOf" srcId="{7E35B4F0-C6D9-46C7-8D15-FB3FB84A5753}" destId="{9B011AA0-66AA-4CDA-BB13-B4C7CFBC6702}" srcOrd="0" destOrd="0" presId="urn:microsoft.com/office/officeart/2005/8/layout/vList2"/>
    <dgm:cxn modelId="{9D8A21FB-C657-40BC-A00C-F203D5C9FFB9}" type="presParOf" srcId="{0F0E5341-522C-4574-A1AD-1798AD510829}" destId="{B18A1651-0266-497C-9949-7A0B900E26D9}" srcOrd="0" destOrd="0" presId="urn:microsoft.com/office/officeart/2005/8/layout/vList2"/>
    <dgm:cxn modelId="{71E7B227-4B3D-4D1E-A451-89E853A5E8A1}" type="presParOf" srcId="{0F0E5341-522C-4574-A1AD-1798AD510829}" destId="{6A35C280-B78B-4C04-B46F-0D0D9B1872CA}" srcOrd="1" destOrd="0" presId="urn:microsoft.com/office/officeart/2005/8/layout/vList2"/>
    <dgm:cxn modelId="{9B62EA41-AE80-4557-BCEA-6C20CF1B3D22}" type="presParOf" srcId="{0F0E5341-522C-4574-A1AD-1798AD510829}" destId="{9B011AA0-66AA-4CDA-BB13-B4C7CFBC6702}" srcOrd="2" destOrd="0" presId="urn:microsoft.com/office/officeart/2005/8/layout/vList2"/>
    <dgm:cxn modelId="{9821A22E-CC00-4486-B139-73931E920BA8}" type="presParOf" srcId="{0F0E5341-522C-4574-A1AD-1798AD510829}" destId="{190C8BF4-A215-4205-8574-A2723960D302}" srcOrd="3" destOrd="0" presId="urn:microsoft.com/office/officeart/2005/8/layout/vList2"/>
    <dgm:cxn modelId="{6600CFE5-2BF9-42C1-A6A8-0ACC9847D376}" type="presParOf" srcId="{0F0E5341-522C-4574-A1AD-1798AD510829}" destId="{022BB7A6-AA52-4560-BCE7-E63767FDAE20}" srcOrd="4" destOrd="0" presId="urn:microsoft.com/office/officeart/2005/8/layout/vList2"/>
    <dgm:cxn modelId="{95A9893A-9FF6-479B-81F6-60BEB4BE9781}" type="presParOf" srcId="{0F0E5341-522C-4574-A1AD-1798AD510829}" destId="{1A8DB503-1E0D-46BC-B14B-093661D13885}" srcOrd="5" destOrd="0" presId="urn:microsoft.com/office/officeart/2005/8/layout/vList2"/>
    <dgm:cxn modelId="{8B6BF316-B1DE-4529-A985-D33125E7D120}" type="presParOf" srcId="{0F0E5341-522C-4574-A1AD-1798AD510829}" destId="{EE8F3D81-ED4D-4612-BFF8-776DFBB0CD11}" srcOrd="6" destOrd="0" presId="urn:microsoft.com/office/officeart/2005/8/layout/vList2"/>
    <dgm:cxn modelId="{F1F28B2B-136D-495E-BB39-E901E3ACB600}" type="presParOf" srcId="{0F0E5341-522C-4574-A1AD-1798AD510829}" destId="{B84FA2CB-0462-4643-81BA-84E465962787}" srcOrd="7" destOrd="0" presId="urn:microsoft.com/office/officeart/2005/8/layout/vList2"/>
    <dgm:cxn modelId="{78506119-271D-4556-BFC8-3126DB77B284}" type="presParOf" srcId="{0F0E5341-522C-4574-A1AD-1798AD510829}" destId="{394B7AB6-53F0-44EB-BE6C-BF940AE97302}" srcOrd="8" destOrd="0" presId="urn:microsoft.com/office/officeart/2005/8/layout/vList2"/>
    <dgm:cxn modelId="{78DDEEE6-4753-450A-BD70-22F8A7173E76}" type="presParOf" srcId="{0F0E5341-522C-4574-A1AD-1798AD510829}" destId="{A1A3434C-27B6-4D0C-8548-18EB20620D50}" srcOrd="9" destOrd="0" presId="urn:microsoft.com/office/officeart/2005/8/layout/vList2"/>
    <dgm:cxn modelId="{E698B942-8E70-4719-9591-330AB9C0AD4F}" type="presParOf" srcId="{0F0E5341-522C-4574-A1AD-1798AD510829}" destId="{AED932ED-CA34-4011-9EC8-BA4C2A021B78}" srcOrd="1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8A1651-0266-497C-9949-7A0B900E26D9}">
      <dsp:nvSpPr>
        <dsp:cNvPr id="0" name=""/>
        <dsp:cNvSpPr/>
      </dsp:nvSpPr>
      <dsp:spPr>
        <a:xfrm>
          <a:off x="0" y="47109"/>
          <a:ext cx="5581649" cy="673920"/>
        </a:xfrm>
        <a:prstGeom prst="roundRect">
          <a:avLst/>
        </a:prstGeom>
        <a:solidFill>
          <a:srgbClr val="F2EFED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tx1"/>
              </a:solidFill>
            </a:rPr>
            <a:t>Understand what is Internet of Things (IoT) </a:t>
          </a:r>
          <a:endParaRPr lang="en-IN" sz="1600" kern="1200">
            <a:solidFill>
              <a:schemeClr val="tx1"/>
            </a:solidFill>
          </a:endParaRPr>
        </a:p>
      </dsp:txBody>
      <dsp:txXfrm>
        <a:off x="32898" y="80007"/>
        <a:ext cx="5515853" cy="608124"/>
      </dsp:txXfrm>
    </dsp:sp>
    <dsp:sp modelId="{9B011AA0-66AA-4CDA-BB13-B4C7CFBC6702}">
      <dsp:nvSpPr>
        <dsp:cNvPr id="0" name=""/>
        <dsp:cNvSpPr/>
      </dsp:nvSpPr>
      <dsp:spPr>
        <a:xfrm>
          <a:off x="0" y="824709"/>
          <a:ext cx="5581649" cy="67392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tx1"/>
              </a:solidFill>
            </a:rPr>
            <a:t>Explore how IoT works, including how devices connect and exchange data.</a:t>
          </a:r>
          <a:endParaRPr lang="en-IN" sz="1600" kern="1200">
            <a:solidFill>
              <a:schemeClr val="tx1"/>
            </a:solidFill>
          </a:endParaRPr>
        </a:p>
      </dsp:txBody>
      <dsp:txXfrm>
        <a:off x="32898" y="857607"/>
        <a:ext cx="5515853" cy="608124"/>
      </dsp:txXfrm>
    </dsp:sp>
    <dsp:sp modelId="{022BB7A6-AA52-4560-BCE7-E63767FDAE20}">
      <dsp:nvSpPr>
        <dsp:cNvPr id="0" name=""/>
        <dsp:cNvSpPr/>
      </dsp:nvSpPr>
      <dsp:spPr>
        <a:xfrm>
          <a:off x="0" y="1602309"/>
          <a:ext cx="5581649" cy="67392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tx1"/>
              </a:solidFill>
            </a:rPr>
            <a:t>Understand what Industrial IoT (IIoT) is and how it differs from consumer IoT.</a:t>
          </a:r>
          <a:endParaRPr lang="en-IN" sz="1600" kern="1200">
            <a:solidFill>
              <a:schemeClr val="tx1"/>
            </a:solidFill>
          </a:endParaRPr>
        </a:p>
      </dsp:txBody>
      <dsp:txXfrm>
        <a:off x="32898" y="1635207"/>
        <a:ext cx="5515853" cy="608124"/>
      </dsp:txXfrm>
    </dsp:sp>
    <dsp:sp modelId="{EE8F3D81-ED4D-4612-BFF8-776DFBB0CD11}">
      <dsp:nvSpPr>
        <dsp:cNvPr id="0" name=""/>
        <dsp:cNvSpPr/>
      </dsp:nvSpPr>
      <dsp:spPr>
        <a:xfrm>
          <a:off x="0" y="2379909"/>
          <a:ext cx="5581649" cy="67392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tx1"/>
              </a:solidFill>
            </a:rPr>
            <a:t>Evaluate how IIoT has evolved over time and its key technology drivers.</a:t>
          </a:r>
          <a:endParaRPr lang="en-IN" sz="1600" kern="1200">
            <a:solidFill>
              <a:schemeClr val="tx1"/>
            </a:solidFill>
          </a:endParaRPr>
        </a:p>
      </dsp:txBody>
      <dsp:txXfrm>
        <a:off x="32898" y="2412807"/>
        <a:ext cx="5515853" cy="608124"/>
      </dsp:txXfrm>
    </dsp:sp>
    <dsp:sp modelId="{394B7AB6-53F0-44EB-BE6C-BF940AE97302}">
      <dsp:nvSpPr>
        <dsp:cNvPr id="0" name=""/>
        <dsp:cNvSpPr/>
      </dsp:nvSpPr>
      <dsp:spPr>
        <a:xfrm>
          <a:off x="0" y="3157509"/>
          <a:ext cx="5581649" cy="67392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tx1"/>
              </a:solidFill>
            </a:rPr>
            <a:t>Explain how IIoT works in real industrial environments.</a:t>
          </a:r>
          <a:endParaRPr lang="en-IN" sz="1600" kern="1200">
            <a:solidFill>
              <a:schemeClr val="tx1"/>
            </a:solidFill>
          </a:endParaRPr>
        </a:p>
      </dsp:txBody>
      <dsp:txXfrm>
        <a:off x="32898" y="3190407"/>
        <a:ext cx="5515853" cy="608124"/>
      </dsp:txXfrm>
    </dsp:sp>
    <dsp:sp modelId="{AED932ED-CA34-4011-9EC8-BA4C2A021B78}">
      <dsp:nvSpPr>
        <dsp:cNvPr id="0" name=""/>
        <dsp:cNvSpPr/>
      </dsp:nvSpPr>
      <dsp:spPr>
        <a:xfrm>
          <a:off x="0" y="3935109"/>
          <a:ext cx="5581649" cy="67392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tx1"/>
              </a:solidFill>
            </a:rPr>
            <a:t>Analyze practical case studies and success stories to see IIoT in action.</a:t>
          </a:r>
          <a:endParaRPr lang="en-IN" sz="1600" kern="1200">
            <a:solidFill>
              <a:schemeClr val="tx1"/>
            </a:solidFill>
          </a:endParaRPr>
        </a:p>
      </dsp:txBody>
      <dsp:txXfrm>
        <a:off x="32898" y="3968007"/>
        <a:ext cx="5515853" cy="60812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E2C0A5-8395-40F5-A604-5611B644E2AA}" type="datetimeFigureOut">
              <a:rPr lang="en-IN" smtClean="0"/>
              <a:t>29-07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33E5-0E50-42C4-82A0-5AD1894CC3B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82098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4.png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4.png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4" y="428625"/>
            <a:ext cx="8382001" cy="3600449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presentation</a:t>
            </a:r>
            <a:r>
              <a:rPr lang="de-DE"/>
              <a:t>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9173" y="4324351"/>
            <a:ext cx="8382001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9173" y="4987089"/>
            <a:ext cx="8382002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place</a:t>
            </a:r>
            <a:r>
              <a:rPr lang="de-DE"/>
              <a:t> / dat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5" name="SmartArt-Platzhalter 4">
            <a:extLst>
              <a:ext uri="{FF2B5EF4-FFF2-40B4-BE49-F238E27FC236}">
                <a16:creationId xmlns:a16="http://schemas.microsoft.com/office/drawing/2014/main" id="{CA3AA816-6B08-4E1B-596D-5822E12D07FA}"/>
              </a:ext>
            </a:extLst>
          </p:cNvPr>
          <p:cNvSpPr>
            <a:spLocks noGrp="1"/>
          </p:cNvSpPr>
          <p:nvPr>
            <p:ph type="dgm" sz="quarter" idx="12" hasCustomPrompt="1"/>
          </p:nvPr>
        </p:nvSpPr>
        <p:spPr>
          <a:xfrm>
            <a:off x="163" y="0"/>
            <a:ext cx="3348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/>
            </a:lvl1pPr>
          </a:lstStyle>
          <a:p>
            <a:r>
              <a:rPr lang="de-DE"/>
              <a:t>.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1EC1B9F-E5A1-B9E4-A065-9112EE3A86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8DF555F1-79E6-C0F6-879D-2BC67C35B4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DFD2038-649C-DECE-AC7B-0293885F14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62C37E08-345B-8F9A-F221-8492837E7B7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892506" y="5666052"/>
            <a:ext cx="1951038" cy="68103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IN"/>
              <a:t>Insert Your Tagline Here</a:t>
            </a:r>
          </a:p>
        </p:txBody>
      </p:sp>
      <p:pic>
        <p:nvPicPr>
          <p:cNvPr id="3" name="Google Shape;23;p71">
            <a:extLst>
              <a:ext uri="{FF2B5EF4-FFF2-40B4-BE49-F238E27FC236}">
                <a16:creationId xmlns:a16="http://schemas.microsoft.com/office/drawing/2014/main" id="{C1847E3A-2786-202E-71ED-4CE748B3EF36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235868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orient="horz" pos="2766">
          <p15:clr>
            <a:srgbClr val="FBAE40"/>
          </p15:clr>
        </p15:guide>
        <p15:guide id="3" orient="horz" pos="3168">
          <p15:clr>
            <a:srgbClr val="FBAE40"/>
          </p15:clr>
        </p15:guide>
        <p15:guide id="4" pos="64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7292B57-8A02-D048-972D-515426D6BF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2" y="1453688"/>
            <a:ext cx="909171" cy="700981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B10A4E7-10FA-01ED-C880-89349B48F7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0163" y="1453688"/>
            <a:ext cx="4575781" cy="700981"/>
          </a:xfrm>
          <a:solidFill>
            <a:schemeClr val="bg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AB7B29E2-69B3-222F-21C3-E1EF7943C8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2464114"/>
            <a:ext cx="909171" cy="700981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EBB74957-0173-855A-6EA4-1B495E733C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0165" y="2464114"/>
            <a:ext cx="4575780" cy="700981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7FC683F0-267E-02D4-6432-0371E554F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4" y="3493012"/>
            <a:ext cx="909171" cy="700981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D72DA4BF-B0A3-645E-2BB1-F802DACE81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60165" y="3493012"/>
            <a:ext cx="4575779" cy="700981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37D069A-DD31-6FD2-2333-E94C78AAB0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5" y="4523139"/>
            <a:ext cx="909171" cy="700981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7A299986-D032-25A6-A53B-9D3098C5ED1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60166" y="4523139"/>
            <a:ext cx="4575777" cy="700981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DF7CCE4F-2D78-693F-4BF0-D2E4C05170B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382" y="1453688"/>
            <a:ext cx="909171" cy="700981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99E73818-F167-0FA5-985D-E3EE2DCBAF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0583" y="1453688"/>
            <a:ext cx="4575781" cy="700981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5EB17123-7A99-2852-EAF6-2DA870C949D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75383" y="2464114"/>
            <a:ext cx="909171" cy="700981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704C1B3-AE43-7E61-77E3-F7D2FE714A0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00585" y="2464114"/>
            <a:ext cx="4575780" cy="700981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2E300710-2A2F-D5B5-0705-C51E0830B5C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384" y="3493012"/>
            <a:ext cx="909171" cy="700981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A1A0C3BB-3431-4593-EB32-AE0B49B39C1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0585" y="3493012"/>
            <a:ext cx="4575779" cy="700981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F4A5AE8-944B-5529-2056-2073F08E6F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75385" y="4523139"/>
            <a:ext cx="909171" cy="700981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2BC1A3FA-77DE-DA32-1D65-BE47DF91DC2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00586" y="4523139"/>
            <a:ext cx="4575777" cy="700981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07CBADDF-E349-81A2-BDFA-1321AE7A1B5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34962" y="5552037"/>
            <a:ext cx="909171" cy="700981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C557C2-FA58-5BFE-241B-503C9EB9BB0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260163" y="5552037"/>
            <a:ext cx="4575777" cy="700981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F091203-1FF8-70EE-37B6-B80D5AB98FE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75385" y="5552037"/>
            <a:ext cx="909171" cy="700981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10AF4AA4-650D-4F97-6804-5554C57A70E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200586" y="5552037"/>
            <a:ext cx="4575777" cy="700981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24" name="Google Shape;13;p69">
            <a:extLst>
              <a:ext uri="{FF2B5EF4-FFF2-40B4-BE49-F238E27FC236}">
                <a16:creationId xmlns:a16="http://schemas.microsoft.com/office/drawing/2014/main" id="{960370BC-65E5-1FB9-A949-1CF899C649DE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19522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4">
            <a:extLst>
              <a:ext uri="{FF2B5EF4-FFF2-40B4-BE49-F238E27FC236}">
                <a16:creationId xmlns:a16="http://schemas.microsoft.com/office/drawing/2014/main" id="{37E2E32B-F1BC-CCD2-7609-25304434AE2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3935412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0262" y="247651"/>
            <a:ext cx="6805888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7292B57-8A02-D048-972D-515426D6BF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00262" y="1981200"/>
            <a:ext cx="925200" cy="9252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B10A4E7-10FA-01ED-C880-89349B48F7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25461" y="1981200"/>
            <a:ext cx="6631577" cy="925200"/>
          </a:xfrm>
          <a:solidFill>
            <a:schemeClr val="bg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AB7B29E2-69B3-222F-21C3-E1EF7943C8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0263" y="3093222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EBB74957-0173-855A-6EA4-1B495E733C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25463" y="3093222"/>
            <a:ext cx="6631576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7FC683F0-267E-02D4-6432-0371E554F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0264" y="4205244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D72DA4BF-B0A3-645E-2BB1-F802DACE81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25463" y="4205244"/>
            <a:ext cx="6631575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37D069A-DD31-6FD2-2333-E94C78AAB0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00265" y="5317266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7A299986-D032-25A6-A53B-9D3098C5ED1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25465" y="5317266"/>
            <a:ext cx="6631574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5E79FA82-82AE-A5C1-265E-73FF34F394DA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211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2706">
          <p15:clr>
            <a:srgbClr val="FBAE40"/>
          </p15:clr>
        </p15:guide>
        <p15:guide id="4" pos="2479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4">
            <a:extLst>
              <a:ext uri="{FF2B5EF4-FFF2-40B4-BE49-F238E27FC236}">
                <a16:creationId xmlns:a16="http://schemas.microsoft.com/office/drawing/2014/main" id="{37E2E32B-F1BC-CCD2-7609-25304434AE2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3935412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0262" y="247651"/>
            <a:ext cx="6805888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7292B57-8A02-D048-972D-515426D6BF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00262" y="1341120"/>
            <a:ext cx="925200" cy="9252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B10A4E7-10FA-01ED-C880-89349B48F7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25461" y="1341120"/>
            <a:ext cx="6631577" cy="925200"/>
          </a:xfrm>
          <a:solidFill>
            <a:schemeClr val="bg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AB7B29E2-69B3-222F-21C3-E1EF7943C8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0263" y="2376942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EBB74957-0173-855A-6EA4-1B495E733C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25463" y="2376942"/>
            <a:ext cx="6631576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7FC683F0-267E-02D4-6432-0371E554F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0264" y="3412764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D72DA4BF-B0A3-645E-2BB1-F802DACE81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25463" y="3412764"/>
            <a:ext cx="6631575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37D069A-DD31-6FD2-2333-E94C78AAB0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00265" y="4448586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7A299986-D032-25A6-A53B-9D3098C5ED1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25465" y="4448586"/>
            <a:ext cx="6631574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2ACDA39-72AD-0453-4114-BB83CECC3F2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0264" y="5484408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2FBEDE7-A3C8-B482-F3F9-C11186FC25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25464" y="5484408"/>
            <a:ext cx="6631574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856D1C8F-C7E8-1DF6-49DC-89135AAED3A6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3813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2706">
          <p15:clr>
            <a:srgbClr val="FBAE40"/>
          </p15:clr>
        </p15:guide>
        <p15:guide id="4" pos="2479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3040323"/>
            <a:ext cx="9256712" cy="923925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3" y="4310001"/>
            <a:ext cx="9256713" cy="1831105"/>
          </a:xfrm>
        </p:spPr>
        <p:txBody>
          <a:bodyPr/>
          <a:lstStyle>
            <a:lvl1pPr marL="0" indent="0">
              <a:buClr>
                <a:schemeClr val="bg1"/>
              </a:buClr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8" name="Google Shape;15;p70">
            <a:extLst>
              <a:ext uri="{FF2B5EF4-FFF2-40B4-BE49-F238E27FC236}">
                <a16:creationId xmlns:a16="http://schemas.microsoft.com/office/drawing/2014/main" id="{2FF9DA51-4F29-E139-A4BB-1EA423A502E8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-2103"/>
          <a:stretch/>
        </p:blipFill>
        <p:spPr>
          <a:xfrm>
            <a:off x="9984510" y="1306284"/>
            <a:ext cx="2207490" cy="5144542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3FC5D6F9-5571-AE40-D87D-E2F7066EB878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06142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7">
          <p15:clr>
            <a:srgbClr val="FBAE40"/>
          </p15:clr>
        </p15:guide>
        <p15:guide id="2" orient="horz" pos="275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3040323"/>
            <a:ext cx="9256712" cy="923925"/>
          </a:xfrm>
        </p:spPr>
        <p:txBody>
          <a:bodyPr anchor="b"/>
          <a:lstStyle>
            <a:lvl1pPr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3" y="4307760"/>
            <a:ext cx="9256713" cy="183110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8" name="Google Shape;15;p70">
            <a:extLst>
              <a:ext uri="{FF2B5EF4-FFF2-40B4-BE49-F238E27FC236}">
                <a16:creationId xmlns:a16="http://schemas.microsoft.com/office/drawing/2014/main" id="{2FF9DA51-4F29-E139-A4BB-1EA423A502E8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-2103"/>
          <a:stretch/>
        </p:blipFill>
        <p:spPr>
          <a:xfrm>
            <a:off x="9984510" y="1306284"/>
            <a:ext cx="2207490" cy="5144542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67ACB761-D819-B51F-4443-3E9D83F45E41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43450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7">
          <p15:clr>
            <a:srgbClr val="FBAE40"/>
          </p15:clr>
        </p15:guide>
        <p15:guide id="2" orient="horz" pos="275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9DB3491E-D5E2-2C71-3815-292112EA873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628775"/>
            <a:ext cx="12192000" cy="4233600"/>
          </a:xfrm>
          <a:solidFill>
            <a:schemeClr val="accent4"/>
          </a:solidFill>
        </p:spPr>
        <p:txBody>
          <a:bodyPr tIns="108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D904EA34-F45A-2469-D879-78361073AC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pic>
        <p:nvPicPr>
          <p:cNvPr id="2" name="Google Shape;13;p69">
            <a:extLst>
              <a:ext uri="{FF2B5EF4-FFF2-40B4-BE49-F238E27FC236}">
                <a16:creationId xmlns:a16="http://schemas.microsoft.com/office/drawing/2014/main" id="{0A16FF96-8D66-3116-4A1B-0AD3F0897351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59365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orient="horz" pos="369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3" y="1581150"/>
            <a:ext cx="11522075" cy="46561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3EF595C6-CC41-4396-6472-95EA8B75EA5D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0259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orient="horz" pos="392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1581150"/>
            <a:ext cx="5581650" cy="4656138"/>
          </a:xfrm>
        </p:spPr>
        <p:txBody>
          <a:bodyPr numCol="1" spcCol="360000"/>
          <a:lstStyle>
            <a:lvl1pPr>
              <a:defRPr/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0ADC6DF7-1043-A06F-90E1-CB5E1E900ED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75386" y="1581150"/>
            <a:ext cx="5581650" cy="4656138"/>
          </a:xfrm>
        </p:spPr>
        <p:txBody>
          <a:bodyPr numCol="1" spcCol="360000"/>
          <a:lstStyle>
            <a:lvl1pPr>
              <a:defRPr/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3BB4F49A-8840-926A-B985-0E7D1FDBF666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93401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s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1581150"/>
            <a:ext cx="5581650" cy="4656138"/>
          </a:xfrm>
        </p:spPr>
        <p:txBody>
          <a:bodyPr numCol="1" spcCol="360000"/>
          <a:lstStyle>
            <a:lvl1pPr>
              <a:buClr>
                <a:schemeClr val="accent5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122661A-3B4D-3FCF-D4F9-ADBB27E0386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75388" y="1581150"/>
            <a:ext cx="5581650" cy="4656138"/>
          </a:xfrm>
        </p:spPr>
        <p:txBody>
          <a:bodyPr numCol="1" spcCol="360000"/>
          <a:lstStyle>
            <a:lvl1pPr>
              <a:buClr>
                <a:schemeClr val="accent5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3372BCE4-D060-00B3-B8FD-9C6668AA624C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14876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s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19467D6-B2E6-16A0-4818-0493BE1ADC8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1581150"/>
            <a:ext cx="5581650" cy="4656138"/>
          </a:xfrm>
        </p:spPr>
        <p:txBody>
          <a:bodyPr numCol="1" spcCol="360000"/>
          <a:lstStyle>
            <a:lvl1pPr>
              <a:buClr>
                <a:schemeClr val="accent5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065F3A6-2597-EF54-1AC5-756C827B679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75388" y="1581150"/>
            <a:ext cx="5581650" cy="4656138"/>
          </a:xfrm>
        </p:spPr>
        <p:txBody>
          <a:bodyPr numCol="1" spcCol="360000"/>
          <a:lstStyle>
            <a:lvl1pPr>
              <a:buClr>
                <a:schemeClr val="accent5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pic>
        <p:nvPicPr>
          <p:cNvPr id="3" name="Google Shape;13;p69">
            <a:extLst>
              <a:ext uri="{FF2B5EF4-FFF2-40B4-BE49-F238E27FC236}">
                <a16:creationId xmlns:a16="http://schemas.microsoft.com/office/drawing/2014/main" id="{71BB02D1-FF59-59A7-C8F6-7AC5B9E1A838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75322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4" y="428625"/>
            <a:ext cx="8382001" cy="3600449"/>
          </a:xfrm>
        </p:spPr>
        <p:txBody>
          <a:bodyPr anchor="b"/>
          <a:lstStyle>
            <a:lvl1pPr>
              <a:defRPr sz="6000">
                <a:solidFill>
                  <a:schemeClr val="bg2"/>
                </a:solidFill>
              </a:defRPr>
            </a:lvl1pPr>
          </a:lstStyle>
          <a:p>
            <a:r>
              <a:rPr lang="de-DE"/>
              <a:t>Edit presentation title by clicking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9173" y="4324351"/>
            <a:ext cx="8382001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subheadline by clicking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9173" y="4987089"/>
            <a:ext cx="8382002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place / date by clicking</a:t>
            </a:r>
          </a:p>
        </p:txBody>
      </p:sp>
      <p:sp>
        <p:nvSpPr>
          <p:cNvPr id="3" name="SmartArt-Platzhalter 4">
            <a:extLst>
              <a:ext uri="{FF2B5EF4-FFF2-40B4-BE49-F238E27FC236}">
                <a16:creationId xmlns:a16="http://schemas.microsoft.com/office/drawing/2014/main" id="{069525C8-9B0E-D85C-18C3-ED348C121878}"/>
              </a:ext>
            </a:extLst>
          </p:cNvPr>
          <p:cNvSpPr>
            <a:spLocks noGrp="1"/>
          </p:cNvSpPr>
          <p:nvPr>
            <p:ph type="dgm" sz="quarter" idx="12" hasCustomPrompt="1"/>
          </p:nvPr>
        </p:nvSpPr>
        <p:spPr>
          <a:xfrm>
            <a:off x="163" y="0"/>
            <a:ext cx="3348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/>
            </a:lvl1pPr>
          </a:lstStyle>
          <a:p>
            <a:r>
              <a:rPr lang="de-DE"/>
              <a:t>.</a:t>
            </a:r>
          </a:p>
        </p:txBody>
      </p:sp>
      <p:sp>
        <p:nvSpPr>
          <p:cNvPr id="5" name="Datumsplatzhalter 3">
            <a:extLst>
              <a:ext uri="{FF2B5EF4-FFF2-40B4-BE49-F238E27FC236}">
                <a16:creationId xmlns:a16="http://schemas.microsoft.com/office/drawing/2014/main" id="{8F921457-CD26-4045-4048-5B5CB9D98F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60EDC90-1D8A-B857-0B0D-585212FB4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D234FCAA-F88F-3EA5-D9E9-19E58E6196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4" name="Content Placeholder 19">
            <a:extLst>
              <a:ext uri="{FF2B5EF4-FFF2-40B4-BE49-F238E27FC236}">
                <a16:creationId xmlns:a16="http://schemas.microsoft.com/office/drawing/2014/main" id="{B3B93CB0-35F5-EA65-DBEB-5068370286A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892506" y="5666052"/>
            <a:ext cx="1951038" cy="681037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IN"/>
              <a:t>Insert Your Tagline Here</a:t>
            </a:r>
          </a:p>
        </p:txBody>
      </p:sp>
      <p:pic>
        <p:nvPicPr>
          <p:cNvPr id="6" name="Google Shape;23;p71">
            <a:extLst>
              <a:ext uri="{FF2B5EF4-FFF2-40B4-BE49-F238E27FC236}">
                <a16:creationId xmlns:a16="http://schemas.microsoft.com/office/drawing/2014/main" id="{A1F9EDE2-E7E7-84E2-D239-8BC807CAA0D3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00677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orient="horz" pos="2766">
          <p15:clr>
            <a:srgbClr val="FBAE40"/>
          </p15:clr>
        </p15:guide>
        <p15:guide id="3" orient="horz" pos="3168">
          <p15:clr>
            <a:srgbClr val="FBAE40"/>
          </p15:clr>
        </p15:guide>
        <p15:guide id="4" pos="64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4">
            <a:extLst>
              <a:ext uri="{FF2B5EF4-FFF2-40B4-BE49-F238E27FC236}">
                <a16:creationId xmlns:a16="http://schemas.microsoft.com/office/drawing/2014/main" id="{9DB3491E-D5E2-2C71-3815-292112EA873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0"/>
            <a:ext cx="10548000" cy="885133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pic>
        <p:nvPicPr>
          <p:cNvPr id="3" name="Google Shape;13;p69">
            <a:extLst>
              <a:ext uri="{FF2B5EF4-FFF2-40B4-BE49-F238E27FC236}">
                <a16:creationId xmlns:a16="http://schemas.microsoft.com/office/drawing/2014/main" id="{D57E74FE-1399-4D63-8D4E-F935B92662BE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22932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orient="horz" pos="392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849C0659-0EFE-A397-7C8B-A742797E8A4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7896225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7199312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267700" y="1581150"/>
            <a:ext cx="3589338" cy="4656138"/>
          </a:xfrm>
        </p:spPr>
        <p:txBody>
          <a:bodyPr numCol="1" spcCol="360000"/>
          <a:lstStyle>
            <a:lvl1pPr>
              <a:buClr>
                <a:schemeClr val="accent5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BED08090-363A-F292-512B-1D50222AAB4B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62825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4974">
          <p15:clr>
            <a:srgbClr val="FBAE40"/>
          </p15:clr>
        </p15:guide>
        <p15:guide id="5" pos="5201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849C0659-0EFE-A397-7C8B-A742797E8A4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295775" y="0"/>
            <a:ext cx="7896225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3600450" cy="1057274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1581150"/>
            <a:ext cx="3600450" cy="4656138"/>
          </a:xfrm>
        </p:spPr>
        <p:txBody>
          <a:bodyPr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43558EF9-A8CB-ED59-AE15-190A1FD1132A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66156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2706">
          <p15:clr>
            <a:srgbClr val="FBAE40"/>
          </p15:clr>
        </p15:guide>
        <p15:guide id="5" pos="247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849C0659-0EFE-A397-7C8B-A742797E8A4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256588" y="0"/>
            <a:ext cx="3935412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7561262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3" y="1581150"/>
            <a:ext cx="7561261" cy="4656138"/>
          </a:xfrm>
        </p:spPr>
        <p:txBody>
          <a:bodyPr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61261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E12148E8-A52B-208E-210C-9B6A2D8832FD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98619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4974">
          <p15:clr>
            <a:srgbClr val="FBAE40"/>
          </p15:clr>
        </p15:guide>
        <p15:guide id="5" pos="5201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849C0659-0EFE-A397-7C8B-A742797E8A4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935412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5774" y="247651"/>
            <a:ext cx="6772276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5775" y="1581150"/>
            <a:ext cx="7561263" cy="4656138"/>
          </a:xfrm>
        </p:spPr>
        <p:txBody>
          <a:bodyPr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9" name="Google Shape;13;p69">
            <a:extLst>
              <a:ext uri="{FF2B5EF4-FFF2-40B4-BE49-F238E27FC236}">
                <a16:creationId xmlns:a16="http://schemas.microsoft.com/office/drawing/2014/main" id="{03EDCFD1-7792-DEA8-E697-9573D0C845DE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01021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2706">
          <p15:clr>
            <a:srgbClr val="FBAE40"/>
          </p15:clr>
        </p15:guide>
        <p15:guide id="5" pos="247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s 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849C0659-0EFE-A397-7C8B-A742797E8A4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4961" y="2049975"/>
            <a:ext cx="5581651" cy="1871603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3" y="3921578"/>
            <a:ext cx="5581651" cy="2315710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628775"/>
            <a:ext cx="5581649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F7B8A435-28C1-DC23-A1CE-58444A547DF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75385" y="2049975"/>
            <a:ext cx="5581653" cy="1871603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75386" y="3921578"/>
            <a:ext cx="5581652" cy="2315710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75385" y="1628775"/>
            <a:ext cx="5581648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9" name="Google Shape;13;p69">
            <a:extLst>
              <a:ext uri="{FF2B5EF4-FFF2-40B4-BE49-F238E27FC236}">
                <a16:creationId xmlns:a16="http://schemas.microsoft.com/office/drawing/2014/main" id="{3A1C897E-14C6-975B-9A45-573AB61E027C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01720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3953">
          <p15:clr>
            <a:srgbClr val="FBAE40"/>
          </p15:clr>
        </p15:guide>
        <p15:guide id="5" pos="3727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s 3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849C0659-0EFE-A397-7C8B-A742797E8A4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0333" y="2049974"/>
            <a:ext cx="3585600" cy="1929600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 lang="de-DE" dirty="0"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3979573"/>
            <a:ext cx="3585600" cy="2246601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0333" y="1628775"/>
            <a:ext cx="3585600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F7B8A435-28C1-DC23-A1CE-58444A547DF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303923" y="2049974"/>
            <a:ext cx="3585600" cy="1929600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303923" y="3979573"/>
            <a:ext cx="3585600" cy="2246602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3923" y="1628775"/>
            <a:ext cx="3585600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069B4014-E50F-06BF-0350-43571999519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267513" y="2049974"/>
            <a:ext cx="3585600" cy="1929600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6056221C-277B-6B2E-0E97-D14AEA04F06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8267513" y="3979573"/>
            <a:ext cx="3585600" cy="2246602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ED0B1ADC-67C1-373F-9E0E-A84458C8DB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7513" y="1628775"/>
            <a:ext cx="3585600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F61E935B-57FF-D782-05C9-0EEBF0208235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68547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2479">
          <p15:clr>
            <a:srgbClr val="FBAE40"/>
          </p15:clr>
        </p15:guide>
        <p15:guide id="5" pos="2706">
          <p15:clr>
            <a:srgbClr val="FBAE40"/>
          </p15:clr>
        </p15:guide>
        <p15:guide id="6" orient="horz" pos="3929">
          <p15:clr>
            <a:srgbClr val="FBAE40"/>
          </p15:clr>
        </p15:guide>
        <p15:guide id="7" pos="4972">
          <p15:clr>
            <a:srgbClr val="FBAE40"/>
          </p15:clr>
        </p15:guide>
        <p15:guide id="8" pos="520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s 4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849C0659-0EFE-A397-7C8B-A742797E8A4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0333" y="2049974"/>
            <a:ext cx="2599200" cy="1929600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3979573"/>
            <a:ext cx="2599200" cy="2246601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0333" y="1628775"/>
            <a:ext cx="2599200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F7B8A435-28C1-DC23-A1CE-58444A547DF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11044" y="2049974"/>
            <a:ext cx="2599200" cy="1929600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  <a:p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3311044" y="3979573"/>
            <a:ext cx="2599200" cy="2246602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11044" y="1628775"/>
            <a:ext cx="2599200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069B4014-E50F-06BF-0350-43571999519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81755" y="2049974"/>
            <a:ext cx="2599200" cy="1929600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6056221C-277B-6B2E-0E97-D14AEA04F06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81755" y="3979573"/>
            <a:ext cx="2599200" cy="2246602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ED0B1ADC-67C1-373F-9E0E-A84458C8DB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1755" y="1628775"/>
            <a:ext cx="2599200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30055DA8-CACA-E957-82F8-5DAA9E4BF36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61992" y="2049974"/>
            <a:ext cx="2599200" cy="1929600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B7595895-C288-60E3-BB22-C7D92C2DB789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261992" y="3979573"/>
            <a:ext cx="2599200" cy="2246602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C43A67BA-AAED-0C02-6260-6D0F9C4FDA5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61992" y="1628775"/>
            <a:ext cx="2599200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pic>
        <p:nvPicPr>
          <p:cNvPr id="19" name="Google Shape;13;p69">
            <a:extLst>
              <a:ext uri="{FF2B5EF4-FFF2-40B4-BE49-F238E27FC236}">
                <a16:creationId xmlns:a16="http://schemas.microsoft.com/office/drawing/2014/main" id="{AB437F83-2754-FEC7-A83F-41DD15C1B90B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47270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1851">
          <p15:clr>
            <a:srgbClr val="FBAE40"/>
          </p15:clr>
        </p15:guide>
        <p15:guide id="5" pos="2078">
          <p15:clr>
            <a:srgbClr val="FBAE40"/>
          </p15:clr>
        </p15:guide>
        <p15:guide id="6" orient="horz" pos="3929">
          <p15:clr>
            <a:srgbClr val="FBAE40"/>
          </p15:clr>
        </p15:guide>
        <p15:guide id="7" pos="5602">
          <p15:clr>
            <a:srgbClr val="FBAE40"/>
          </p15:clr>
        </p15:guide>
        <p15:guide id="8" pos="5829">
          <p15:clr>
            <a:srgbClr val="FBAE40"/>
          </p15:clr>
        </p15:guide>
        <p15:guide id="9" pos="3727">
          <p15:clr>
            <a:srgbClr val="FBAE40"/>
          </p15:clr>
        </p15:guide>
        <p15:guide id="10" pos="395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75384" y="1579615"/>
            <a:ext cx="5581653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EEAFF238-34B7-663E-202E-267B0729DC27}"/>
              </a:ext>
            </a:extLst>
          </p:cNvPr>
          <p:cNvCxnSpPr>
            <a:cxnSpLocks/>
          </p:cNvCxnSpPr>
          <p:nvPr userDrawn="1"/>
        </p:nvCxnSpPr>
        <p:spPr>
          <a:xfrm>
            <a:off x="334963" y="1956621"/>
            <a:ext cx="5593889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1E1F83E-F979-B2CC-EC30-588E807D2B88}"/>
              </a:ext>
            </a:extLst>
          </p:cNvPr>
          <p:cNvCxnSpPr/>
          <p:nvPr userDrawn="1"/>
        </p:nvCxnSpPr>
        <p:spPr>
          <a:xfrm>
            <a:off x="6282147" y="1956621"/>
            <a:ext cx="5574891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A7923848-A47E-478C-DEA5-053E7AB734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579615"/>
            <a:ext cx="5581654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2B6445DE-C672-6284-BFCF-69CB90E16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2202222"/>
            <a:ext cx="5569521" cy="4035076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537DC196-8489-8845-7D6C-D29B7D03462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82147" y="2202222"/>
            <a:ext cx="5574891" cy="4035076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pic>
        <p:nvPicPr>
          <p:cNvPr id="3" name="Google Shape;13;p69">
            <a:extLst>
              <a:ext uri="{FF2B5EF4-FFF2-40B4-BE49-F238E27FC236}">
                <a16:creationId xmlns:a16="http://schemas.microsoft.com/office/drawing/2014/main" id="{967CBB65-16B1-945E-94AD-AF799F1B534F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70396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3953">
          <p15:clr>
            <a:srgbClr val="FBAE40"/>
          </p15:clr>
        </p15:guide>
        <p15:guide id="5" pos="3727">
          <p15:clr>
            <a:srgbClr val="FBAE40"/>
          </p15:clr>
        </p15:guide>
        <p15:guide id="6" orient="horz" pos="3929">
          <p15:clr>
            <a:srgbClr val="FBAE40"/>
          </p15:clr>
        </p15:guide>
        <p15:guide id="7" orient="horz" pos="141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75384" y="1147187"/>
            <a:ext cx="5581653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EEAFF238-34B7-663E-202E-267B0729DC27}"/>
              </a:ext>
            </a:extLst>
          </p:cNvPr>
          <p:cNvCxnSpPr>
            <a:cxnSpLocks/>
          </p:cNvCxnSpPr>
          <p:nvPr userDrawn="1"/>
        </p:nvCxnSpPr>
        <p:spPr>
          <a:xfrm>
            <a:off x="334963" y="1524193"/>
            <a:ext cx="5593889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1E1F83E-F979-B2CC-EC30-588E807D2B88}"/>
              </a:ext>
            </a:extLst>
          </p:cNvPr>
          <p:cNvCxnSpPr/>
          <p:nvPr userDrawn="1"/>
        </p:nvCxnSpPr>
        <p:spPr>
          <a:xfrm>
            <a:off x="6282147" y="1524193"/>
            <a:ext cx="5574891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A7923848-A47E-478C-DEA5-053E7AB734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147187"/>
            <a:ext cx="5581654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2B6445DE-C672-6284-BFCF-69CB90E16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1769794"/>
            <a:ext cx="5569521" cy="4035076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537DC196-8489-8845-7D6C-D29B7D03462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82147" y="1769794"/>
            <a:ext cx="5574891" cy="4035076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pic>
        <p:nvPicPr>
          <p:cNvPr id="3" name="Google Shape;13;p69">
            <a:extLst>
              <a:ext uri="{FF2B5EF4-FFF2-40B4-BE49-F238E27FC236}">
                <a16:creationId xmlns:a16="http://schemas.microsoft.com/office/drawing/2014/main" id="{967CBB65-16B1-945E-94AD-AF799F1B534F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81876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3953">
          <p15:clr>
            <a:srgbClr val="FBAE40"/>
          </p15:clr>
        </p15:guide>
        <p15:guide id="5" pos="3727">
          <p15:clr>
            <a:srgbClr val="FBAE40"/>
          </p15:clr>
        </p15:guide>
        <p15:guide id="6" orient="horz" pos="3929">
          <p15:clr>
            <a:srgbClr val="FBAE40"/>
          </p15:clr>
        </p15:guide>
        <p15:guide id="7" orient="horz" pos="141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A3C420C2-3B11-9DE8-860D-76ED1BD5F04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4" y="395967"/>
            <a:ext cx="4683536" cy="3600449"/>
          </a:xfrm>
        </p:spPr>
        <p:txBody>
          <a:bodyPr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presentation</a:t>
            </a:r>
            <a:r>
              <a:rPr lang="de-DE"/>
              <a:t>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9173" y="4324351"/>
            <a:ext cx="8382001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9173" y="4987089"/>
            <a:ext cx="8382002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place</a:t>
            </a:r>
            <a:r>
              <a:rPr lang="de-DE"/>
              <a:t> / dat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3" name="SmartArt-Platzhalter 4">
            <a:extLst>
              <a:ext uri="{FF2B5EF4-FFF2-40B4-BE49-F238E27FC236}">
                <a16:creationId xmlns:a16="http://schemas.microsoft.com/office/drawing/2014/main" id="{E9945411-B0ED-4BA1-CF28-52F5DE76EFF6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163" y="0"/>
            <a:ext cx="3348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/>
            </a:lvl1pPr>
          </a:lstStyle>
          <a:p>
            <a:r>
              <a:rPr lang="de-DE"/>
              <a:t>.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339388-213C-55FD-68AE-4E7C7691E9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CB0D380E-A589-8E65-AC07-4017247BD0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CC2F7F4A-CCE0-455A-4DDA-746A690F78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2" name="Content Placeholder 19">
            <a:extLst>
              <a:ext uri="{FF2B5EF4-FFF2-40B4-BE49-F238E27FC236}">
                <a16:creationId xmlns:a16="http://schemas.microsoft.com/office/drawing/2014/main" id="{FD1F441D-4DC4-2CE5-0CA7-669EFA4D1A9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892506" y="5666052"/>
            <a:ext cx="1951038" cy="68103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IN"/>
              <a:t>Insert Your Tagline Here</a:t>
            </a:r>
          </a:p>
        </p:txBody>
      </p:sp>
      <p:pic>
        <p:nvPicPr>
          <p:cNvPr id="9" name="Google Shape;23;p71">
            <a:extLst>
              <a:ext uri="{FF2B5EF4-FFF2-40B4-BE49-F238E27FC236}">
                <a16:creationId xmlns:a16="http://schemas.microsoft.com/office/drawing/2014/main" id="{67931FC1-4218-B7F8-6200-CB2A905C94E7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46102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orient="horz" pos="2766">
          <p15:clr>
            <a:srgbClr val="FBAE40"/>
          </p15:clr>
        </p15:guide>
        <p15:guide id="3" orient="horz" pos="3168">
          <p15:clr>
            <a:srgbClr val="FBAE40"/>
          </p15:clr>
        </p15:guide>
        <p15:guide id="4" pos="642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75384" y="1155376"/>
            <a:ext cx="5581653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EEAFF238-34B7-663E-202E-267B0729DC27}"/>
              </a:ext>
            </a:extLst>
          </p:cNvPr>
          <p:cNvCxnSpPr>
            <a:cxnSpLocks/>
          </p:cNvCxnSpPr>
          <p:nvPr userDrawn="1"/>
        </p:nvCxnSpPr>
        <p:spPr>
          <a:xfrm>
            <a:off x="334963" y="1532382"/>
            <a:ext cx="5593889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1E1F83E-F979-B2CC-EC30-588E807D2B88}"/>
              </a:ext>
            </a:extLst>
          </p:cNvPr>
          <p:cNvCxnSpPr/>
          <p:nvPr userDrawn="1"/>
        </p:nvCxnSpPr>
        <p:spPr>
          <a:xfrm>
            <a:off x="6282147" y="1532382"/>
            <a:ext cx="5574891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A7923848-A47E-478C-DEA5-053E7AB734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155376"/>
            <a:ext cx="5581654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2B6445DE-C672-6284-BFCF-69CB90E16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1777983"/>
            <a:ext cx="5569521" cy="4035076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537DC196-8489-8845-7D6C-D29B7D03462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82147" y="1777983"/>
            <a:ext cx="5574891" cy="4035076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pic>
        <p:nvPicPr>
          <p:cNvPr id="3" name="Google Shape;13;p69">
            <a:extLst>
              <a:ext uri="{FF2B5EF4-FFF2-40B4-BE49-F238E27FC236}">
                <a16:creationId xmlns:a16="http://schemas.microsoft.com/office/drawing/2014/main" id="{967CBB65-16B1-945E-94AD-AF799F1B534F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4620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3953">
          <p15:clr>
            <a:srgbClr val="FBAE40"/>
          </p15:clr>
        </p15:guide>
        <p15:guide id="5" pos="3727">
          <p15:clr>
            <a:srgbClr val="FBAE40"/>
          </p15:clr>
        </p15:guide>
        <p15:guide id="6" orient="horz" pos="3929">
          <p15:clr>
            <a:srgbClr val="FBAE40"/>
          </p15:clr>
        </p15:guide>
        <p15:guide id="7" orient="horz" pos="141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75384" y="1155376"/>
            <a:ext cx="5581653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A7923848-A47E-478C-DEA5-053E7AB734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155376"/>
            <a:ext cx="5581654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2B6445DE-C672-6284-BFCF-69CB90E16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1777983"/>
            <a:ext cx="5569521" cy="4035076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537DC196-8489-8845-7D6C-D29B7D03462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82147" y="1777983"/>
            <a:ext cx="5574891" cy="4035076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pic>
        <p:nvPicPr>
          <p:cNvPr id="3" name="Google Shape;13;p69">
            <a:extLst>
              <a:ext uri="{FF2B5EF4-FFF2-40B4-BE49-F238E27FC236}">
                <a16:creationId xmlns:a16="http://schemas.microsoft.com/office/drawing/2014/main" id="{967CBB65-16B1-945E-94AD-AF799F1B534F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17207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3953">
          <p15:clr>
            <a:srgbClr val="FBAE40"/>
          </p15:clr>
        </p15:guide>
        <p15:guide id="5" pos="3727">
          <p15:clr>
            <a:srgbClr val="FBAE40"/>
          </p15:clr>
        </p15:guide>
        <p15:guide id="6" orient="horz" pos="3929">
          <p15:clr>
            <a:srgbClr val="FBAE40"/>
          </p15:clr>
        </p15:guide>
        <p15:guide id="7" orient="horz" pos="141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2202222"/>
            <a:ext cx="35856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579615"/>
            <a:ext cx="3590970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303923" y="2202222"/>
            <a:ext cx="35856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3923" y="1579615"/>
            <a:ext cx="3585600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6056221C-277B-6B2E-0E97-D14AEA04F06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8267513" y="2202222"/>
            <a:ext cx="35856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ED0B1ADC-67C1-373F-9E0E-A84458C8DB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7513" y="1579615"/>
            <a:ext cx="3585600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211EE8F2-8BC5-C160-2601-4C6B819D6AB1}"/>
              </a:ext>
            </a:extLst>
          </p:cNvPr>
          <p:cNvCxnSpPr>
            <a:cxnSpLocks/>
          </p:cNvCxnSpPr>
          <p:nvPr userDrawn="1"/>
        </p:nvCxnSpPr>
        <p:spPr>
          <a:xfrm>
            <a:off x="334963" y="1956621"/>
            <a:ext cx="3592565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850CE0DB-B78A-95E4-67F8-A4FA15A45A3C}"/>
              </a:ext>
            </a:extLst>
          </p:cNvPr>
          <p:cNvCxnSpPr>
            <a:cxnSpLocks/>
          </p:cNvCxnSpPr>
          <p:nvPr userDrawn="1"/>
        </p:nvCxnSpPr>
        <p:spPr>
          <a:xfrm>
            <a:off x="4299786" y="1956621"/>
            <a:ext cx="35856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36BC9C76-389B-6968-C37B-35FF7E1447BE}"/>
              </a:ext>
            </a:extLst>
          </p:cNvPr>
          <p:cNvCxnSpPr>
            <a:cxnSpLocks/>
          </p:cNvCxnSpPr>
          <p:nvPr userDrawn="1"/>
        </p:nvCxnSpPr>
        <p:spPr>
          <a:xfrm>
            <a:off x="8257253" y="1956621"/>
            <a:ext cx="35856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2F480338-567A-8821-5EBB-9C8E4CACB0CC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77208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2479">
          <p15:clr>
            <a:srgbClr val="FBAE40"/>
          </p15:clr>
        </p15:guide>
        <p15:guide id="5" pos="2706">
          <p15:clr>
            <a:srgbClr val="FBAE40"/>
          </p15:clr>
        </p15:guide>
        <p15:guide id="6" orient="horz" pos="3922">
          <p15:clr>
            <a:srgbClr val="FBAE40"/>
          </p15:clr>
        </p15:guide>
        <p15:guide id="7" pos="4972">
          <p15:clr>
            <a:srgbClr val="FBAE40"/>
          </p15:clr>
        </p15:guide>
        <p15:guide id="8" pos="5201">
          <p15:clr>
            <a:srgbClr val="FBAE40"/>
          </p15:clr>
        </p15:guide>
        <p15:guide id="9" orient="horz" pos="141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3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2051750"/>
            <a:ext cx="35856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429143"/>
            <a:ext cx="3590970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303923" y="2051750"/>
            <a:ext cx="35856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3923" y="1429143"/>
            <a:ext cx="3585600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6056221C-277B-6B2E-0E97-D14AEA04F06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8267513" y="2051750"/>
            <a:ext cx="35856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ED0B1ADC-67C1-373F-9E0E-A84458C8DB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7513" y="1429143"/>
            <a:ext cx="3585600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2F480338-567A-8821-5EBB-9C8E4CACB0CC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49551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2479">
          <p15:clr>
            <a:srgbClr val="FBAE40"/>
          </p15:clr>
        </p15:guide>
        <p15:guide id="5" pos="2706">
          <p15:clr>
            <a:srgbClr val="FBAE40"/>
          </p15:clr>
        </p15:guide>
        <p15:guide id="6" orient="horz" pos="3922">
          <p15:clr>
            <a:srgbClr val="FBAE40"/>
          </p15:clr>
        </p15:guide>
        <p15:guide id="7" pos="4972">
          <p15:clr>
            <a:srgbClr val="FBAE40"/>
          </p15:clr>
        </p15:guide>
        <p15:guide id="8" pos="5201">
          <p15:clr>
            <a:srgbClr val="FBAE40"/>
          </p15:clr>
        </p15:guide>
        <p15:guide id="9" orient="horz" pos="141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579615"/>
            <a:ext cx="2604570" cy="36158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3311044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11044" y="1579615"/>
            <a:ext cx="2599200" cy="36158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6056221C-277B-6B2E-0E97-D14AEA04F06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81755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ED0B1ADC-67C1-373F-9E0E-A84458C8DB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1755" y="1579615"/>
            <a:ext cx="2599200" cy="36158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B7595895-C288-60E3-BB22-C7D92C2DB789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261992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C43A67BA-AAED-0C02-6260-6D0F9C4FDA5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61992" y="1579615"/>
            <a:ext cx="2599200" cy="36158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2799C335-DD9F-030A-892C-AC0B34209BF3}"/>
              </a:ext>
            </a:extLst>
          </p:cNvPr>
          <p:cNvCxnSpPr>
            <a:cxnSpLocks/>
          </p:cNvCxnSpPr>
          <p:nvPr userDrawn="1"/>
        </p:nvCxnSpPr>
        <p:spPr>
          <a:xfrm>
            <a:off x="334963" y="1956621"/>
            <a:ext cx="2606164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0CC28BA6-3810-CFC3-40DB-8167533D15B6}"/>
              </a:ext>
            </a:extLst>
          </p:cNvPr>
          <p:cNvCxnSpPr>
            <a:cxnSpLocks/>
          </p:cNvCxnSpPr>
          <p:nvPr userDrawn="1"/>
        </p:nvCxnSpPr>
        <p:spPr>
          <a:xfrm>
            <a:off x="3310255" y="1956621"/>
            <a:ext cx="25992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7FDA7F09-80EA-118A-BB63-5968F8DF8258}"/>
              </a:ext>
            </a:extLst>
          </p:cNvPr>
          <p:cNvCxnSpPr>
            <a:cxnSpLocks/>
          </p:cNvCxnSpPr>
          <p:nvPr userDrawn="1"/>
        </p:nvCxnSpPr>
        <p:spPr>
          <a:xfrm>
            <a:off x="6278583" y="1956621"/>
            <a:ext cx="25992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9B3F475E-0032-7BA8-A02C-D56AD22DC108}"/>
              </a:ext>
            </a:extLst>
          </p:cNvPr>
          <p:cNvCxnSpPr>
            <a:cxnSpLocks/>
          </p:cNvCxnSpPr>
          <p:nvPr userDrawn="1"/>
        </p:nvCxnSpPr>
        <p:spPr>
          <a:xfrm>
            <a:off x="9254531" y="1956621"/>
            <a:ext cx="25992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D8F81F55-F70E-7C8D-F513-4CBED5B55F74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92873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1851">
          <p15:clr>
            <a:srgbClr val="FBAE40"/>
          </p15:clr>
        </p15:guide>
        <p15:guide id="5" pos="2078">
          <p15:clr>
            <a:srgbClr val="FBAE40"/>
          </p15:clr>
        </p15:guide>
        <p15:guide id="6" orient="horz" pos="3922">
          <p15:clr>
            <a:srgbClr val="FBAE40"/>
          </p15:clr>
        </p15:guide>
        <p15:guide id="7" pos="5602">
          <p15:clr>
            <a:srgbClr val="FBAE40"/>
          </p15:clr>
        </p15:guide>
        <p15:guide id="8" pos="5829">
          <p15:clr>
            <a:srgbClr val="FBAE40"/>
          </p15:clr>
        </p15:guide>
        <p15:guide id="9" pos="3727">
          <p15:clr>
            <a:srgbClr val="FBAE40"/>
          </p15:clr>
        </p15:guide>
        <p15:guide id="10" pos="3953">
          <p15:clr>
            <a:srgbClr val="FBAE40"/>
          </p15:clr>
        </p15:guide>
        <p15:guide id="11" orient="horz" pos="141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lumn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579615"/>
            <a:ext cx="2604570" cy="4212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  <a:p>
            <a:pPr lvl="0"/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3311044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11044" y="1579615"/>
            <a:ext cx="2599200" cy="4212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6056221C-277B-6B2E-0E97-D14AEA04F06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81755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ED0B1ADC-67C1-373F-9E0E-A84458C8DB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1755" y="1579615"/>
            <a:ext cx="2599200" cy="4212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B7595895-C288-60E3-BB22-C7D92C2DB789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261992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C43A67BA-AAED-0C02-6260-6D0F9C4FDA5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61992" y="1579615"/>
            <a:ext cx="2599200" cy="4212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7176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1851">
          <p15:clr>
            <a:srgbClr val="FBAE40"/>
          </p15:clr>
        </p15:guide>
        <p15:guide id="5" pos="2078">
          <p15:clr>
            <a:srgbClr val="FBAE40"/>
          </p15:clr>
        </p15:guide>
        <p15:guide id="6" orient="horz" pos="3922">
          <p15:clr>
            <a:srgbClr val="FBAE40"/>
          </p15:clr>
        </p15:guide>
        <p15:guide id="7" pos="5602">
          <p15:clr>
            <a:srgbClr val="FBAE40"/>
          </p15:clr>
        </p15:guide>
        <p15:guide id="8" pos="5829">
          <p15:clr>
            <a:srgbClr val="FBAE40"/>
          </p15:clr>
        </p15:guide>
        <p15:guide id="9" pos="3727">
          <p15:clr>
            <a:srgbClr val="FBAE40"/>
          </p15:clr>
        </p15:guide>
        <p15:guide id="10" pos="3953">
          <p15:clr>
            <a:srgbClr val="FBAE40"/>
          </p15:clr>
        </p15:guide>
        <p15:guide id="11" orient="horz" pos="132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1628775"/>
            <a:ext cx="11528833" cy="2477125"/>
          </a:xfrm>
        </p:spPr>
        <p:txBody>
          <a:bodyPr anchor="b"/>
          <a:lstStyle>
            <a:lvl1pPr>
              <a:lnSpc>
                <a:spcPct val="100000"/>
              </a:lnSpc>
              <a:defRPr sz="8000">
                <a:solidFill>
                  <a:schemeClr val="accent5"/>
                </a:solidFill>
              </a:defRPr>
            </a:lvl1pPr>
          </a:lstStyle>
          <a:p>
            <a:r>
              <a:rPr lang="en-US"/>
              <a:t>Edit thank you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3" y="4854789"/>
            <a:ext cx="5581651" cy="1371386"/>
          </a:xfrm>
          <a:noFill/>
        </p:spPr>
        <p:txBody>
          <a:bodyPr lIns="0" tIns="0" rIns="0" bIns="0" numCol="1" spcCol="360000" anchor="t"/>
          <a:lstStyle>
            <a:lvl1pPr marL="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info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4461963"/>
            <a:ext cx="5581650" cy="360000"/>
          </a:xfrm>
          <a:noFill/>
        </p:spPr>
        <p:txBody>
          <a:bodyPr lIns="0" tIns="0" rIns="0" bIns="0" anchor="t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82146" y="4854789"/>
            <a:ext cx="5581651" cy="1371386"/>
          </a:xfrm>
          <a:noFill/>
        </p:spPr>
        <p:txBody>
          <a:bodyPr lIns="0" tIns="0" rIns="0" bIns="0" numCol="1" spcCol="360000" anchor="t"/>
          <a:lstStyle>
            <a:lvl1pPr marL="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info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75389" y="4461963"/>
            <a:ext cx="5556246" cy="360000"/>
          </a:xfrm>
          <a:noFill/>
        </p:spPr>
        <p:txBody>
          <a:bodyPr lIns="0" tIns="0" rIns="0" bIns="0" anchor="t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7" name="Google Shape;23;p71">
            <a:extLst>
              <a:ext uri="{FF2B5EF4-FFF2-40B4-BE49-F238E27FC236}">
                <a16:creationId xmlns:a16="http://schemas.microsoft.com/office/drawing/2014/main" id="{6ADC0593-D725-69F3-6A70-00750C02D0E4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6710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3953">
          <p15:clr>
            <a:srgbClr val="FBAE40"/>
          </p15:clr>
        </p15:guide>
        <p15:guide id="5" pos="3727">
          <p15:clr>
            <a:srgbClr val="FBAE40"/>
          </p15:clr>
        </p15:guide>
        <p15:guide id="6" orient="horz" pos="3922">
          <p15:clr>
            <a:srgbClr val="FBAE40"/>
          </p15:clr>
        </p15:guide>
        <p15:guide id="7" orient="horz" pos="2432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1648652"/>
            <a:ext cx="7524750" cy="2477125"/>
          </a:xfrm>
        </p:spPr>
        <p:txBody>
          <a:bodyPr anchor="t"/>
          <a:lstStyle>
            <a:lvl1pPr>
              <a:lnSpc>
                <a:spcPct val="90000"/>
              </a:lnSpc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en-US"/>
              <a:t>Edit thank you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279909" y="2230733"/>
            <a:ext cx="3577130" cy="1371386"/>
          </a:xfrm>
          <a:noFill/>
        </p:spPr>
        <p:txBody>
          <a:bodyPr lIns="0" tIns="0" rIns="0" bIns="0" numCol="1" spcCol="360000" anchor="t"/>
          <a:lstStyle>
            <a:lvl1pPr marL="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info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08" y="1837907"/>
            <a:ext cx="3577129" cy="360000"/>
          </a:xfrm>
          <a:noFill/>
        </p:spPr>
        <p:txBody>
          <a:bodyPr lIns="0" tIns="0" rIns="0" bIns="0" anchor="t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279908" y="4569039"/>
            <a:ext cx="3593483" cy="1371386"/>
          </a:xfrm>
          <a:noFill/>
        </p:spPr>
        <p:txBody>
          <a:bodyPr lIns="0" tIns="0" rIns="0" bIns="0" numCol="1" spcCol="360000" anchor="t"/>
          <a:lstStyle>
            <a:lvl1pPr marL="0" indent="0">
              <a:buClr>
                <a:schemeClr val="bg2"/>
              </a:buClr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info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3147" y="4176213"/>
            <a:ext cx="3577129" cy="360000"/>
          </a:xfrm>
          <a:noFill/>
        </p:spPr>
        <p:txBody>
          <a:bodyPr lIns="0" tIns="0" rIns="0" bIns="0" anchor="t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7" name="Google Shape;23;p71">
            <a:extLst>
              <a:ext uri="{FF2B5EF4-FFF2-40B4-BE49-F238E27FC236}">
                <a16:creationId xmlns:a16="http://schemas.microsoft.com/office/drawing/2014/main" id="{D4706564-7424-4AEB-D0AE-D4CB19357F5F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9115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94">
          <p15:clr>
            <a:srgbClr val="FBAE40"/>
          </p15:clr>
        </p15:guide>
        <p15:guide id="4" pos="4951">
          <p15:clr>
            <a:srgbClr val="FBAE40"/>
          </p15:clr>
        </p15:guide>
        <p15:guide id="5" pos="5201">
          <p15:clr>
            <a:srgbClr val="FBAE40"/>
          </p15:clr>
        </p15:guide>
        <p15:guide id="6" orient="horz" pos="3922">
          <p15:clr>
            <a:srgbClr val="FBAE40"/>
          </p15:clr>
        </p15:guide>
        <p15:guide id="7" orient="horz" pos="118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208;p99">
            <a:extLst>
              <a:ext uri="{FF2B5EF4-FFF2-40B4-BE49-F238E27FC236}">
                <a16:creationId xmlns:a16="http://schemas.microsoft.com/office/drawing/2014/main" id="{A7A6A8A9-8B3A-132B-6B0A-EA98C0EB8F61}"/>
              </a:ext>
            </a:extLst>
          </p:cNvPr>
          <p:cNvSpPr/>
          <p:nvPr userDrawn="1"/>
        </p:nvSpPr>
        <p:spPr>
          <a:xfrm>
            <a:off x="1" y="2806995"/>
            <a:ext cx="12192000" cy="4051004"/>
          </a:xfrm>
          <a:prstGeom prst="rect">
            <a:avLst/>
          </a:prstGeom>
          <a:solidFill>
            <a:srgbClr val="0B25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9" name="Google Shape;209;p99">
            <a:extLst>
              <a:ext uri="{FF2B5EF4-FFF2-40B4-BE49-F238E27FC236}">
                <a16:creationId xmlns:a16="http://schemas.microsoft.com/office/drawing/2014/main" id="{9BE903ED-03BC-932A-0D57-500C76D88DF6}"/>
              </a:ext>
            </a:extLst>
          </p:cNvPr>
          <p:cNvSpPr/>
          <p:nvPr userDrawn="1"/>
        </p:nvSpPr>
        <p:spPr>
          <a:xfrm>
            <a:off x="0" y="0"/>
            <a:ext cx="8273147" cy="57964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1801053"/>
            <a:ext cx="4741117" cy="3105244"/>
          </a:xfrm>
        </p:spPr>
        <p:txBody>
          <a:bodyPr anchor="t"/>
          <a:lstStyle>
            <a:lvl1pPr>
              <a:lnSpc>
                <a:spcPct val="90000"/>
              </a:lnSpc>
              <a:defRPr sz="4800">
                <a:solidFill>
                  <a:schemeClr val="accent5"/>
                </a:solidFill>
                <a:latin typeface="+mj-lt"/>
              </a:defRPr>
            </a:lvl1pPr>
          </a:lstStyle>
          <a:p>
            <a:r>
              <a:rPr lang="en-US"/>
              <a:t>Edit thank you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70038" y="4307183"/>
            <a:ext cx="2389675" cy="1371386"/>
          </a:xfrm>
          <a:noFill/>
        </p:spPr>
        <p:txBody>
          <a:bodyPr lIns="0" tIns="0" rIns="0" bIns="0" numCol="1" spcCol="360000" anchor="t"/>
          <a:lstStyle>
            <a:lvl1pPr marL="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j-lt"/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  <a:latin typeface="+mj-lt"/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  <a:latin typeface="+mj-lt"/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info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fld id="{888F065A-EFAC-409A-9F56-D24A0EB303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70037" y="3914357"/>
            <a:ext cx="2389676" cy="360000"/>
          </a:xfrm>
          <a:noFill/>
        </p:spPr>
        <p:txBody>
          <a:bodyPr lIns="0" tIns="0" rIns="0" bIns="0" anchor="t"/>
          <a:lstStyle>
            <a:lvl1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632333" y="4307183"/>
            <a:ext cx="2390400" cy="1371386"/>
          </a:xfrm>
          <a:noFill/>
        </p:spPr>
        <p:txBody>
          <a:bodyPr lIns="0" tIns="0" rIns="0" bIns="0" numCol="1" spcCol="360000" anchor="t"/>
          <a:lstStyle>
            <a:lvl1pPr marL="0" indent="0">
              <a:buClr>
                <a:schemeClr val="bg2"/>
              </a:buClr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j-lt"/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  <a:latin typeface="+mj-lt"/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  <a:latin typeface="+mj-lt"/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info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25573" y="3914357"/>
            <a:ext cx="2390400" cy="360000"/>
          </a:xfrm>
          <a:noFill/>
        </p:spPr>
        <p:txBody>
          <a:bodyPr lIns="0" tIns="0" rIns="0" bIns="0" anchor="t"/>
          <a:lstStyle>
            <a:lvl1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3289C77C-157D-C999-4ACF-A0C21FAC5F9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48300" y="0"/>
            <a:ext cx="4741117" cy="3609816"/>
          </a:xfrm>
          <a:solidFill>
            <a:schemeClr val="accent4"/>
          </a:solidFill>
        </p:spPr>
        <p:txBody>
          <a:bodyPr tIns="864000"/>
          <a:lstStyle>
            <a:lvl1pPr marL="0" indent="0" algn="ctr">
              <a:buNone/>
              <a:defRPr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pic>
        <p:nvPicPr>
          <p:cNvPr id="11" name="Google Shape;23;p71">
            <a:extLst>
              <a:ext uri="{FF2B5EF4-FFF2-40B4-BE49-F238E27FC236}">
                <a16:creationId xmlns:a16="http://schemas.microsoft.com/office/drawing/2014/main" id="{4F8CB4E2-101F-B68F-01A2-215BD911F8E8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20202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4951">
          <p15:clr>
            <a:srgbClr val="FBAE40"/>
          </p15:clr>
        </p15:guide>
        <p15:guide id="5" pos="3432">
          <p15:clr>
            <a:srgbClr val="FBAE40"/>
          </p15:clr>
        </p15:guide>
        <p15:guide id="6" orient="horz" pos="2500">
          <p15:clr>
            <a:srgbClr val="FBAE40"/>
          </p15:clr>
        </p15:guide>
        <p15:guide id="7" orient="horz" pos="1185">
          <p15:clr>
            <a:srgbClr val="FBAE40"/>
          </p15:clr>
        </p15:guide>
        <p15:guide id="8" pos="5428">
          <p15:clr>
            <a:srgbClr val="FBAE40"/>
          </p15:clr>
        </p15:guide>
        <p15:guide id="9" orient="horz" pos="3929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pic>
        <p:nvPicPr>
          <p:cNvPr id="3" name="Google Shape;13;p69">
            <a:extLst>
              <a:ext uri="{FF2B5EF4-FFF2-40B4-BE49-F238E27FC236}">
                <a16:creationId xmlns:a16="http://schemas.microsoft.com/office/drawing/2014/main" id="{0A3B121D-17EE-DD9E-82E1-D6A155CF8F54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70516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A3C420C2-3B11-9DE8-860D-76ED1BD5F04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7920000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69052" y="1959429"/>
            <a:ext cx="3589192" cy="2026101"/>
          </a:xfrm>
        </p:spPr>
        <p:txBody>
          <a:bodyPr anchor="b"/>
          <a:lstStyle>
            <a:lvl1pPr>
              <a:defRPr sz="4000">
                <a:solidFill>
                  <a:schemeClr val="accent5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presentation</a:t>
            </a:r>
            <a:r>
              <a:rPr lang="de-DE"/>
              <a:t>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69052" y="4324351"/>
            <a:ext cx="3587986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69051" y="4987089"/>
            <a:ext cx="3587987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place</a:t>
            </a:r>
            <a:r>
              <a:rPr lang="de-DE"/>
              <a:t> / dat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6E05FB29-DAA7-3540-92CC-CF2AE7EE07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9F362831-C9F9-B243-7141-57E0408857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1EA96D7-9FD9-E049-C430-AE6014F1E9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1" name="Content Placeholder 19">
            <a:extLst>
              <a:ext uri="{FF2B5EF4-FFF2-40B4-BE49-F238E27FC236}">
                <a16:creationId xmlns:a16="http://schemas.microsoft.com/office/drawing/2014/main" id="{D696665F-648A-7890-627F-CFA7D4D577E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929924" y="5856288"/>
            <a:ext cx="1951038" cy="68103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IN"/>
              <a:t>Insert Your Tagline Here</a:t>
            </a:r>
          </a:p>
        </p:txBody>
      </p:sp>
      <p:pic>
        <p:nvPicPr>
          <p:cNvPr id="4" name="Google Shape;23;p71">
            <a:extLst>
              <a:ext uri="{FF2B5EF4-FFF2-40B4-BE49-F238E27FC236}">
                <a16:creationId xmlns:a16="http://schemas.microsoft.com/office/drawing/2014/main" id="{19ABACE0-41D7-7EDF-D7A6-0A5F5F8F89C3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93110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orient="horz" pos="2766">
          <p15:clr>
            <a:srgbClr val="FBAE40"/>
          </p15:clr>
        </p15:guide>
        <p15:guide id="3" orient="horz" pos="3168">
          <p15:clr>
            <a:srgbClr val="FBAE40"/>
          </p15:clr>
        </p15:guide>
        <p15:guide id="4" pos="642">
          <p15:clr>
            <a:srgbClr val="FBAE40"/>
          </p15:clr>
        </p15:guide>
        <p15:guide id="5" pos="520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,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E41933C4-0EED-1569-7B96-6EB0BA4A7403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26641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,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3" name="Google Shape;13;p69">
            <a:extLst>
              <a:ext uri="{FF2B5EF4-FFF2-40B4-BE49-F238E27FC236}">
                <a16:creationId xmlns:a16="http://schemas.microsoft.com/office/drawing/2014/main" id="{769A77EC-022E-C9ED-0671-E02195F6339A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80300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4" y="428625"/>
            <a:ext cx="8382001" cy="3600449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de-DE"/>
              <a:t>Edit presentation title by clicking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9173" y="4324351"/>
            <a:ext cx="8382001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9173" y="4987089"/>
            <a:ext cx="8382002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place</a:t>
            </a:r>
            <a:r>
              <a:rPr lang="de-DE"/>
              <a:t> / dat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5" name="SmartArt-Platzhalter 4">
            <a:extLst>
              <a:ext uri="{FF2B5EF4-FFF2-40B4-BE49-F238E27FC236}">
                <a16:creationId xmlns:a16="http://schemas.microsoft.com/office/drawing/2014/main" id="{CA3AA816-6B08-4E1B-596D-5822E12D07FA}"/>
              </a:ext>
            </a:extLst>
          </p:cNvPr>
          <p:cNvSpPr>
            <a:spLocks noGrp="1"/>
          </p:cNvSpPr>
          <p:nvPr>
            <p:ph type="dgm" sz="quarter" idx="12" hasCustomPrompt="1"/>
          </p:nvPr>
        </p:nvSpPr>
        <p:spPr>
          <a:xfrm>
            <a:off x="163" y="0"/>
            <a:ext cx="3348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/>
            </a:lvl1pPr>
          </a:lstStyle>
          <a:p>
            <a:r>
              <a:rPr lang="de-DE"/>
              <a:t>.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1EC1B9F-E5A1-B9E4-A065-9112EE3A86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8DF555F1-79E6-C0F6-879D-2BC67C35B4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DFD2038-649C-DECE-AC7B-0293885F14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2" name="Content Placeholder 19">
            <a:extLst>
              <a:ext uri="{FF2B5EF4-FFF2-40B4-BE49-F238E27FC236}">
                <a16:creationId xmlns:a16="http://schemas.microsoft.com/office/drawing/2014/main" id="{9E7E98E7-7489-2A2A-2955-F03876B8263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892506" y="5666052"/>
            <a:ext cx="1951038" cy="68103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IN"/>
              <a:t>Insert Your Tagline Here</a:t>
            </a:r>
          </a:p>
        </p:txBody>
      </p:sp>
      <p:pic>
        <p:nvPicPr>
          <p:cNvPr id="6" name="Google Shape;23;p71">
            <a:extLst>
              <a:ext uri="{FF2B5EF4-FFF2-40B4-BE49-F238E27FC236}">
                <a16:creationId xmlns:a16="http://schemas.microsoft.com/office/drawing/2014/main" id="{F2986A70-C9D9-000B-62D6-D2ADE0432FC9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9720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orient="horz" pos="2766">
          <p15:clr>
            <a:srgbClr val="FBAE40"/>
          </p15:clr>
        </p15:guide>
        <p15:guide id="3" orient="horz" pos="3168">
          <p15:clr>
            <a:srgbClr val="FBAE40"/>
          </p15:clr>
        </p15:guide>
        <p15:guide id="4" pos="64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72800" cy="79248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412240"/>
            <a:ext cx="5120640" cy="684848"/>
          </a:xfrm>
        </p:spPr>
        <p:txBody>
          <a:bodyPr anchor="b">
            <a:normAutofit/>
          </a:bodyPr>
          <a:lstStyle>
            <a:lvl1pPr marL="0" indent="0">
              <a:lnSpc>
                <a:spcPct val="120000"/>
              </a:lnSpc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259648"/>
            <a:ext cx="5120640" cy="4029392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096001" y="1412240"/>
            <a:ext cx="5120640" cy="684848"/>
          </a:xfrm>
        </p:spPr>
        <p:txBody>
          <a:bodyPr anchor="b">
            <a:normAutofit/>
          </a:bodyPr>
          <a:lstStyle>
            <a:lvl1pPr marL="0" indent="0">
              <a:lnSpc>
                <a:spcPct val="120000"/>
              </a:lnSpc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6000" y="2259648"/>
            <a:ext cx="5120640" cy="4029392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2025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Introduction to Industrial Autom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D9AD4B2D-25FF-0B46-98A4-87FBB723E47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6242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A3C420C2-3B11-9DE8-860D-76ED1BD5F04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7920000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69052" y="1959429"/>
            <a:ext cx="3589192" cy="2026101"/>
          </a:xfrm>
        </p:spPr>
        <p:txBody>
          <a:bodyPr anchor="b"/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presentation</a:t>
            </a:r>
            <a:r>
              <a:rPr lang="de-DE"/>
              <a:t>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69052" y="4324351"/>
            <a:ext cx="3587986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69051" y="4987089"/>
            <a:ext cx="3587987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place</a:t>
            </a:r>
            <a:r>
              <a:rPr lang="de-DE"/>
              <a:t> / dat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D0D8F0A5-F24B-9140-BE57-B5D7C76601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90787A4B-0E4A-E959-197A-97E5E6C8F9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8C060BC-F353-2EBE-8C88-9B696B7E2C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2" name="Content Placeholder 19">
            <a:extLst>
              <a:ext uri="{FF2B5EF4-FFF2-40B4-BE49-F238E27FC236}">
                <a16:creationId xmlns:a16="http://schemas.microsoft.com/office/drawing/2014/main" id="{1AA56064-4F96-98D0-E2B6-7A437D3C6CE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929924" y="5856288"/>
            <a:ext cx="1951038" cy="68103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IN"/>
              <a:t>Insert Your Tagline Here</a:t>
            </a:r>
          </a:p>
        </p:txBody>
      </p:sp>
      <p:pic>
        <p:nvPicPr>
          <p:cNvPr id="4" name="Google Shape;23;p71">
            <a:extLst>
              <a:ext uri="{FF2B5EF4-FFF2-40B4-BE49-F238E27FC236}">
                <a16:creationId xmlns:a16="http://schemas.microsoft.com/office/drawing/2014/main" id="{C13556F7-2806-A55F-F51E-64D7E01F89F0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96252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orient="horz" pos="2766">
          <p15:clr>
            <a:srgbClr val="FBAE40"/>
          </p15:clr>
        </p15:guide>
        <p15:guide id="3" orient="horz" pos="3168">
          <p15:clr>
            <a:srgbClr val="FBAE40"/>
          </p15:clr>
        </p15:guide>
        <p15:guide id="4" pos="642">
          <p15:clr>
            <a:srgbClr val="FBAE40"/>
          </p15:clr>
        </p15:guide>
        <p15:guide id="5" pos="520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A3C420C2-3B11-9DE8-860D-76ED1BD5F04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333375"/>
            <a:ext cx="4320000" cy="6191250"/>
          </a:xfrm>
          <a:solidFill>
            <a:schemeClr val="bg1"/>
          </a:solidFill>
        </p:spPr>
        <p:txBody>
          <a:bodyPr lIns="360000" rIns="324000" bIns="2556000" anchor="b"/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presentation</a:t>
            </a:r>
            <a:r>
              <a:rPr lang="de-DE"/>
              <a:t>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6" y="4324351"/>
            <a:ext cx="3600450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5" y="4987089"/>
            <a:ext cx="3600450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place</a:t>
            </a:r>
            <a:r>
              <a:rPr lang="de-DE"/>
              <a:t> / dat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83260693-9DBE-4B9A-408C-77C03B952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8E682EC2-ABA0-1194-C510-65C61BCE0A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95C1CB7-4D99-6B9C-F2A6-6DB5E664CF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4" name="Content Placeholder 19">
            <a:extLst>
              <a:ext uri="{FF2B5EF4-FFF2-40B4-BE49-F238E27FC236}">
                <a16:creationId xmlns:a16="http://schemas.microsoft.com/office/drawing/2014/main" id="{7CAC40D5-C943-FCB4-E966-55067625D31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44737" y="5691563"/>
            <a:ext cx="1951038" cy="681037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IN"/>
              <a:t>Insert Your Tagline Here</a:t>
            </a:r>
          </a:p>
        </p:txBody>
      </p:sp>
      <p:sp>
        <p:nvSpPr>
          <p:cNvPr id="8" name="SmartArt-Platzhalter 7">
            <a:extLst>
              <a:ext uri="{FF2B5EF4-FFF2-40B4-BE49-F238E27FC236}">
                <a16:creationId xmlns:a16="http://schemas.microsoft.com/office/drawing/2014/main" id="{2AE127D9-CB3C-7423-889C-6B3B3675D039}"/>
              </a:ext>
            </a:extLst>
          </p:cNvPr>
          <p:cNvSpPr>
            <a:spLocks noGrp="1"/>
          </p:cNvSpPr>
          <p:nvPr>
            <p:ph type="dgm" sz="quarter" idx="13" hasCustomPrompt="1"/>
          </p:nvPr>
        </p:nvSpPr>
        <p:spPr>
          <a:xfrm>
            <a:off x="3102258" y="454143"/>
            <a:ext cx="1440000" cy="1439862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bg1"/>
                </a:solidFill>
              </a:defRPr>
            </a:lvl1pPr>
          </a:lstStyle>
          <a:p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30767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orient="horz" pos="2766">
          <p15:clr>
            <a:srgbClr val="FBAE40"/>
          </p15:clr>
        </p15:guide>
        <p15:guide id="3" orient="horz" pos="3168">
          <p15:clr>
            <a:srgbClr val="FBAE40"/>
          </p15:clr>
        </p15:guide>
        <p15:guide id="4" pos="438">
          <p15:clr>
            <a:srgbClr val="FBAE40"/>
          </p15:clr>
        </p15:guide>
        <p15:guide id="5" pos="2706">
          <p15:clr>
            <a:srgbClr val="FBAE40"/>
          </p15:clr>
        </p15:guide>
        <p15:guide id="6" orient="horz" pos="436">
          <p15:clr>
            <a:srgbClr val="FBAE40"/>
          </p15:clr>
        </p15:guide>
        <p15:guide id="7" orient="horz" pos="388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A3C420C2-3B11-9DE8-860D-76ED1BD5F04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333375"/>
            <a:ext cx="4320000" cy="6191250"/>
          </a:xfrm>
          <a:solidFill>
            <a:schemeClr val="bg2"/>
          </a:solidFill>
        </p:spPr>
        <p:txBody>
          <a:bodyPr lIns="360000" rIns="324000" bIns="2556000" anchor="b"/>
          <a:lstStyle>
            <a:lvl1pPr>
              <a:defRPr sz="3600">
                <a:solidFill>
                  <a:schemeClr val="accent5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presentation</a:t>
            </a:r>
            <a:r>
              <a:rPr lang="de-DE"/>
              <a:t>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6" y="4324351"/>
            <a:ext cx="3600450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5" y="4987089"/>
            <a:ext cx="3600450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place</a:t>
            </a:r>
            <a:r>
              <a:rPr lang="de-DE"/>
              <a:t> / dat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BD3618F6-C643-8F13-3C9C-2A1F4AFDF5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00B41359-49EE-6D13-8D83-9A89977AF4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F68EC99-C33A-9EB9-4E4E-657202F90E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6" name="Content Placeholder 19">
            <a:extLst>
              <a:ext uri="{FF2B5EF4-FFF2-40B4-BE49-F238E27FC236}">
                <a16:creationId xmlns:a16="http://schemas.microsoft.com/office/drawing/2014/main" id="{2BB3252D-E1E5-6E80-39A2-5F82D5DFDC1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44737" y="5691563"/>
            <a:ext cx="1951038" cy="68103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IN"/>
              <a:t>Insert Your Tagline Here</a:t>
            </a:r>
          </a:p>
        </p:txBody>
      </p:sp>
      <p:pic>
        <p:nvPicPr>
          <p:cNvPr id="7" name="Picture 6" descr="A blue graph with a arrow pointing up&#10;&#10;AI-generated content may be incorrect.">
            <a:extLst>
              <a:ext uri="{FF2B5EF4-FFF2-40B4-BE49-F238E27FC236}">
                <a16:creationId xmlns:a16="http://schemas.microsoft.com/office/drawing/2014/main" id="{47455837-1C3F-9BAE-1306-13799F05F6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3322" y="485400"/>
            <a:ext cx="1008731" cy="1008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514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orient="horz" pos="2766">
          <p15:clr>
            <a:srgbClr val="FBAE40"/>
          </p15:clr>
        </p15:guide>
        <p15:guide id="3" orient="horz" pos="3168">
          <p15:clr>
            <a:srgbClr val="FBAE40"/>
          </p15:clr>
        </p15:guide>
        <p15:guide id="4" pos="438">
          <p15:clr>
            <a:srgbClr val="FBAE40"/>
          </p15:clr>
        </p15:guide>
        <p15:guide id="5" pos="2706">
          <p15:clr>
            <a:srgbClr val="FBAE40"/>
          </p15:clr>
        </p15:guide>
        <p15:guide id="6" orient="horz" pos="436">
          <p15:clr>
            <a:srgbClr val="FBAE40"/>
          </p15:clr>
        </p15:guide>
        <p15:guide id="7" orient="horz" pos="388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196945" y="6513665"/>
            <a:ext cx="114213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7292B57-8A02-D048-972D-515426D6BF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1981200"/>
            <a:ext cx="925200" cy="9252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B10A4E7-10FA-01ED-C880-89349B48F7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0162" y="1981200"/>
            <a:ext cx="10596875" cy="925200"/>
          </a:xfrm>
          <a:solidFill>
            <a:schemeClr val="bg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AB7B29E2-69B3-222F-21C3-E1EF7943C8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4" y="3093222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EBB74957-0173-855A-6EA4-1B495E733C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0163" y="3093222"/>
            <a:ext cx="10596875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7FC683F0-267E-02D4-6432-0371E554F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5" y="4205244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D72DA4BF-B0A3-645E-2BB1-F802DACE81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60164" y="4205244"/>
            <a:ext cx="10596875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37D069A-DD31-6FD2-2333-E94C78AAB0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6" y="5317266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7A299986-D032-25A6-A53B-9D3098C5ED1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60165" y="5317266"/>
            <a:ext cx="10596875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3" name="Google Shape;13;p69">
            <a:extLst>
              <a:ext uri="{FF2B5EF4-FFF2-40B4-BE49-F238E27FC236}">
                <a16:creationId xmlns:a16="http://schemas.microsoft.com/office/drawing/2014/main" id="{378226E3-4509-9FDC-DA73-F1C4C0D48F8B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86056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7292B57-8A02-D048-972D-515426D6BF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1981200"/>
            <a:ext cx="925200" cy="9252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B10A4E7-10FA-01ED-C880-89349B48F7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0162" y="1981200"/>
            <a:ext cx="4656451" cy="925200"/>
          </a:xfrm>
          <a:solidFill>
            <a:schemeClr val="bg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AB7B29E2-69B3-222F-21C3-E1EF7943C8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4" y="3093222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EBB74957-0173-855A-6EA4-1B495E733C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0164" y="3093222"/>
            <a:ext cx="4656450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7FC683F0-267E-02D4-6432-0371E554F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5" y="4205244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D72DA4BF-B0A3-645E-2BB1-F802DACE81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60164" y="4205244"/>
            <a:ext cx="4656449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37D069A-DD31-6FD2-2333-E94C78AAB0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6" y="5317266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7A299986-D032-25A6-A53B-9D3098C5ED1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60166" y="5317266"/>
            <a:ext cx="4656448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DF7CCE4F-2D78-693F-4BF0-D2E4C05170B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383" y="1981200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99E73818-F167-0FA5-985D-E3EE2DCBAF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0582" y="1981200"/>
            <a:ext cx="4656451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5EB17123-7A99-2852-EAF6-2DA870C949D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75384" y="3093222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704C1B3-AE43-7E61-77E3-F7D2FE714A0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00584" y="3093222"/>
            <a:ext cx="4656450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2E300710-2A2F-D5B5-0705-C51E0830B5C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385" y="4205244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A1A0C3BB-3431-4593-EB32-AE0B49B39C1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0584" y="4205244"/>
            <a:ext cx="4656449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F4A5AE8-944B-5529-2056-2073F08E6F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75386" y="5317266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2BC1A3FA-77DE-DA32-1D65-BE47DF91DC2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00586" y="5317266"/>
            <a:ext cx="4656448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F914EC90-39EE-0FFD-0246-23C9419F5984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53740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8E47D0F-C19D-133A-B142-E47FB23FF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33375"/>
            <a:ext cx="11522075" cy="9239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183384-8CAE-CD51-C60D-AC14A28A59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400175"/>
            <a:ext cx="11522075" cy="47767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DC3A09C-862D-826C-584F-E643EF143D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65136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15F6B7C-EC59-C38E-BC7D-88954ADE5C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5136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3F6863B-06F1-CB5D-CB3C-68CA0D2823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65136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</a:defRPr>
            </a:lvl1pPr>
          </a:lstStyle>
          <a:p>
            <a:fld id="{888F065A-EFAC-409A-9F56-D24A0EB303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empower - DO NOT DELETE!!!" hidden="1">
            <a:extLst>
              <a:ext uri="{FF2B5EF4-FFF2-40B4-BE49-F238E27FC236}">
                <a16:creationId xmlns:a16="http://schemas.microsoft.com/office/drawing/2014/main" id="{B9DB49CE-4576-7DCF-ADBF-F4306F5F7385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rgbClr val="F2EFED"/>
          </a:solidFill>
          <a:ln>
            <a:noFill/>
          </a:ln>
        </p:spPr>
        <p:txBody>
          <a:bodyPr spcFirstLastPara="1" wrap="square" lIns="72000" tIns="72000" rIns="72000" bIns="72000" rtlCol="0" anchor="t" anchorCtr="0">
            <a:noAutofit/>
          </a:bodyPr>
          <a:lstStyle/>
          <a:p>
            <a:pPr marL="171450" indent="-171450" algn="l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330087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  <p:sldLayoutId id="2147483714" r:id="rId23"/>
    <p:sldLayoutId id="2147483715" r:id="rId24"/>
    <p:sldLayoutId id="2147483716" r:id="rId25"/>
    <p:sldLayoutId id="2147483717" r:id="rId26"/>
    <p:sldLayoutId id="2147483718" r:id="rId27"/>
    <p:sldLayoutId id="2147483719" r:id="rId28"/>
    <p:sldLayoutId id="2147483743" r:id="rId29"/>
    <p:sldLayoutId id="2147483742" r:id="rId30"/>
    <p:sldLayoutId id="2147483744" r:id="rId31"/>
    <p:sldLayoutId id="2147483720" r:id="rId32"/>
    <p:sldLayoutId id="2147483747" r:id="rId33"/>
    <p:sldLayoutId id="2147483721" r:id="rId34"/>
    <p:sldLayoutId id="2147483722" r:id="rId35"/>
    <p:sldLayoutId id="2147483723" r:id="rId36"/>
    <p:sldLayoutId id="2147483724" r:id="rId37"/>
    <p:sldLayoutId id="2147483725" r:id="rId38"/>
    <p:sldLayoutId id="2147483726" r:id="rId39"/>
    <p:sldLayoutId id="2147483727" r:id="rId40"/>
    <p:sldLayoutId id="2147483728" r:id="rId41"/>
    <p:sldLayoutId id="2147483729" r:id="rId42"/>
    <p:sldLayoutId id="2147483732" r:id="rId4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1pPr>
      <a:lvl2pPr marL="3587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2pPr>
      <a:lvl3pPr marL="5365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719138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4pPr>
      <a:lvl5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4110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6.jpeg"/><Relationship Id="rId3" Type="http://schemas.openxmlformats.org/officeDocument/2006/relationships/image" Target="../media/image2.png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video" Target="https://www.youtube.com/embed/pGuBJdx35e8?feature=oembed" TargetMode="External"/><Relationship Id="rId2" Type="http://schemas.openxmlformats.org/officeDocument/2006/relationships/slideLayout" Target="../slideLayouts/slideLayout17.xml"/><Relationship Id="rId3" Type="http://schemas.openxmlformats.org/officeDocument/2006/relationships/image" Target="../media/image18.jpeg"/><Relationship Id="rId4" Type="http://schemas.openxmlformats.org/officeDocument/2006/relationships/hyperlink" Target="https://youtu.be/pGuBJdx35e8" TargetMode="External"/></Relationships>
</file>

<file path=ppt/slides/_rels/slide1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9.xml"/><Relationship Id="rId2" Type="http://schemas.openxmlformats.org/officeDocument/2006/relationships/image" Target="../media/image19.png"/><Relationship Id="rId3" Type="http://schemas.openxmlformats.org/officeDocument/2006/relationships/image" Target="../media/image20.png"/><Relationship Id="rId4" Type="http://schemas.openxmlformats.org/officeDocument/2006/relationships/image" Target="../media/image21.png"/></Relationships>
</file>

<file path=ppt/slides/_rels/slide1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9.xml"/><Relationship Id="rId2" Type="http://schemas.openxmlformats.org/officeDocument/2006/relationships/image" Target="../media/image22.png"/><Relationship Id="rId3" Type="http://schemas.openxmlformats.org/officeDocument/2006/relationships/image" Target="../media/image23.png"/><Relationship Id="rId4" Type="http://schemas.openxmlformats.org/officeDocument/2006/relationships/image" Target="../media/image24.png"/><Relationship Id="rId5" Type="http://schemas.openxmlformats.org/officeDocument/2006/relationships/image" Target="../media/image25.png"/><Relationship Id="rId6" Type="http://schemas.openxmlformats.org/officeDocument/2006/relationships/image" Target="../media/image26.png"/><Relationship Id="rId7" Type="http://schemas.openxmlformats.org/officeDocument/2006/relationships/image" Target="../media/image27.png"/></Relationships>
</file>

<file path=ppt/slides/_rels/slide1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image" Target="../media/image28.png"/></Relationships>
</file>

<file path=ppt/slides/_rels/slide1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image" Target="../media/image29.png"/></Relationships>
</file>

<file path=ppt/slides/_rels/slide1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7.xml"/><Relationship Id="rId2" Type="http://schemas.openxmlformats.org/officeDocument/2006/relationships/hyperlink" Target="https://www.instagram.com/tuvsud/" TargetMode="External"/><Relationship Id="rId3" Type="http://schemas.openxmlformats.org/officeDocument/2006/relationships/image" Target="../media/image30.png"/><Relationship Id="rId4" Type="http://schemas.openxmlformats.org/officeDocument/2006/relationships/image" Target="../media/image31.svg"/><Relationship Id="rId5" Type="http://schemas.openxmlformats.org/officeDocument/2006/relationships/hyperlink" Target="https://www.linkedin.com/company/tuvsud/" TargetMode="External"/><Relationship Id="rId6" Type="http://schemas.openxmlformats.org/officeDocument/2006/relationships/image" Target="../media/image32.png"/><Relationship Id="rId7" Type="http://schemas.openxmlformats.org/officeDocument/2006/relationships/image" Target="../media/image33.svg"/><Relationship Id="rId8" Type="http://schemas.openxmlformats.org/officeDocument/2006/relationships/hyperlink" Target="https://www.youtube.com/tuvsud" TargetMode="External"/><Relationship Id="rId9" Type="http://schemas.openxmlformats.org/officeDocument/2006/relationships/image" Target="../media/image34.png"/><Relationship Id="rId10" Type="http://schemas.openxmlformats.org/officeDocument/2006/relationships/image" Target="../media/image35.svg"/><Relationship Id="rId11" Type="http://schemas.openxmlformats.org/officeDocument/2006/relationships/hyperlink" Target="mailto:info@tuvsud.com" TargetMode="External"/><Relationship Id="rId12" Type="http://schemas.openxmlformats.org/officeDocument/2006/relationships/image" Target="../media/image36.pn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7.png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Relationship Id="rId3" Type="http://schemas.openxmlformats.org/officeDocument/2006/relationships/image" Target="../media/image2.png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diagramData" Target="../diagrams/data1.xml"/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7" Type="http://schemas.openxmlformats.org/officeDocument/2006/relationships/image" Target="../media/image9.png"/><Relationship Id="rId8" Type="http://schemas.openxmlformats.org/officeDocument/2006/relationships/image" Target="../media/image10.svg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image" Target="../media/image11.png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microsoft.com/office/2018/10/relationships/comments" Target="../comments/modernComment_7FFFCDD8_2DC5D16F.xml"/><Relationship Id="rId3" Type="http://schemas.openxmlformats.org/officeDocument/2006/relationships/image" Target="../media/image12.png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video" Target="https://www.youtube.com/embed/NjYTzvAVozo?feature=oembed" TargetMode="External"/><Relationship Id="rId2" Type="http://schemas.openxmlformats.org/officeDocument/2006/relationships/slideLayout" Target="../slideLayouts/slideLayout17.xml"/><Relationship Id="rId3" Type="http://schemas.openxmlformats.org/officeDocument/2006/relationships/image" Target="../media/image13.jpeg"/><Relationship Id="rId4" Type="http://schemas.openxmlformats.org/officeDocument/2006/relationships/hyperlink" Target="https://youtu.be/NjYTzvAVozo" TargetMode="External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9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5" Type="http://schemas.openxmlformats.org/officeDocument/2006/relationships/image" Target="../media/image16.png"/><Relationship Id="rId6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Placeholder 22" descr="A large factory with many machines&#10;&#10;AI-generated content may be incorrect.">
            <a:extLst>
              <a:ext uri="{FF2B5EF4-FFF2-40B4-BE49-F238E27FC236}">
                <a16:creationId xmlns:a16="http://schemas.microsoft.com/office/drawing/2014/main" id="{13E8B1A9-D6B6-754B-7B29-46CD6C60343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>
            <a:fillRect/>
          </a:stretch>
        </p:blipFill>
        <p:spPr>
          <a:xfrm>
            <a:off x="0" y="0"/>
            <a:ext cx="12192000" cy="6858000"/>
          </a:xfrm>
          <a:solidFill>
            <a:schemeClr val="bg2"/>
          </a:solidFill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5B499CD7-BDEB-EBBC-DEFD-1D153553AA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Industrial Io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F447FD7-9D3A-0780-1A2B-2C46D17978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IN"/>
              <a:t>Module 1: Introduction to Industrial IoT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EF4E0A9-2F00-A5A9-0897-6086F31A35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IN"/>
              <a:t>India</a:t>
            </a:r>
          </a:p>
        </p:txBody>
      </p:sp>
      <p:sp>
        <p:nvSpPr>
          <p:cNvPr id="21" name="SmartArt Placeholder 20">
            <a:extLst>
              <a:ext uri="{FF2B5EF4-FFF2-40B4-BE49-F238E27FC236}">
                <a16:creationId xmlns:a16="http://schemas.microsoft.com/office/drawing/2014/main" id="{068DF897-857E-C718-75CC-E71D20F2F8E1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2244DA4-9477-0C33-75D0-85B3B1E14F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6513254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A213478-AD03-12F7-EEDA-7B10ABFCF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6513254"/>
            <a:ext cx="9615281" cy="344335"/>
          </a:xfrm>
        </p:spPr>
        <p:txBody>
          <a:bodyPr/>
          <a:lstStyle/>
          <a:p>
            <a:r>
              <a:rPr lang="de-DE" dirty="0"/>
              <a:t>Introduction to IoT &amp; IIo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54CBCB2-2376-D81F-D886-B0CC405464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6513254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1</a:t>
            </a:fld>
            <a:endParaRPr lang="de-DE"/>
          </a:p>
        </p:txBody>
      </p:sp>
      <p:pic>
        <p:nvPicPr>
          <p:cNvPr id="2" name="Google Shape;23;p71">
            <a:extLst>
              <a:ext uri="{FF2B5EF4-FFF2-40B4-BE49-F238E27FC236}">
                <a16:creationId xmlns:a16="http://schemas.microsoft.com/office/drawing/2014/main" id="{2613D43A-7F4D-90D2-8F23-2AB32C741CF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4" name="TextBox 23"/>
          <p:cNvSpPr txBox="1"/>
          <p:nvPr/>
        </p:nvSpPr>
        <p:spPr>
          <a:xfrm>
            <a:off x="91440" y="914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t>🔊</a:t>
            </a:r>
          </a:p>
        </p:txBody>
      </p:sp>
    </p:spTree>
    <p:extLst>
      <p:ext uri="{BB962C8B-B14F-4D97-AF65-F5344CB8AC3E}">
        <p14:creationId xmlns:p14="http://schemas.microsoft.com/office/powerpoint/2010/main" val="23925274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F4E3A4-B89C-BB29-A502-017370EE2B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4D5B1F0-7D32-A668-9470-930A74C11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482" y="2983912"/>
            <a:ext cx="10548000" cy="890176"/>
          </a:xfrm>
        </p:spPr>
        <p:txBody>
          <a:bodyPr/>
          <a:lstStyle/>
          <a:p>
            <a:pPr algn="ctr"/>
            <a:r>
              <a:rPr lang="en-IN" sz="4800">
                <a:solidFill>
                  <a:schemeClr val="bg2"/>
                </a:solidFill>
              </a:rPr>
              <a:t>Industrial Internet </a:t>
            </a:r>
            <a:r>
              <a:rPr lang="en-IN" sz="4800"/>
              <a:t>of </a:t>
            </a:r>
            <a:r>
              <a:rPr lang="en-IN" sz="4800">
                <a:solidFill>
                  <a:schemeClr val="accent5"/>
                </a:solidFill>
              </a:rPr>
              <a:t>Things</a:t>
            </a:r>
          </a:p>
        </p:txBody>
      </p:sp>
      <p:sp>
        <p:nvSpPr>
          <p:cNvPr id="2" name="Date Placeholder 5">
            <a:extLst>
              <a:ext uri="{FF2B5EF4-FFF2-40B4-BE49-F238E27FC236}">
                <a16:creationId xmlns:a16="http://schemas.microsoft.com/office/drawing/2014/main" id="{4E746B26-0D38-6BC4-0571-7B9654AF5F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063EB50A-DCA0-4095-9AB0-D3389665A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7" name="Slide Number Placeholder 7">
            <a:extLst>
              <a:ext uri="{FF2B5EF4-FFF2-40B4-BE49-F238E27FC236}">
                <a16:creationId xmlns:a16="http://schemas.microsoft.com/office/drawing/2014/main" id="{DEF030CA-F98D-645D-A15C-56356F45DF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9" name="TextBox 8"/>
          <p:cNvSpPr txBox="1"/>
          <p:nvPr/>
        </p:nvSpPr>
        <p:spPr>
          <a:xfrm>
            <a:off x="91440" y="914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t>🔊</a:t>
            </a:r>
          </a:p>
        </p:txBody>
      </p:sp>
    </p:spTree>
    <p:extLst>
      <p:ext uri="{BB962C8B-B14F-4D97-AF65-F5344CB8AC3E}">
        <p14:creationId xmlns:p14="http://schemas.microsoft.com/office/powerpoint/2010/main" val="4926018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5B28894-C522-8B72-7593-1BD9FC488D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287" y="2560760"/>
            <a:ext cx="3701677" cy="890176"/>
          </a:xfrm>
        </p:spPr>
        <p:txBody>
          <a:bodyPr/>
          <a:lstStyle/>
          <a:p>
            <a:pPr algn="ctr"/>
            <a:r>
              <a:rPr lang="en-IN" sz="2800"/>
              <a:t>Industrial Network   +</a:t>
            </a:r>
            <a:endParaRPr lang="en-IN" sz="2800">
              <a:solidFill>
                <a:schemeClr val="accent6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112D95-B3E8-977B-8EF8-9F4C6BF01840}"/>
              </a:ext>
            </a:extLst>
          </p:cNvPr>
          <p:cNvSpPr txBox="1"/>
          <p:nvPr/>
        </p:nvSpPr>
        <p:spPr>
          <a:xfrm>
            <a:off x="4718558" y="3215738"/>
            <a:ext cx="3066473" cy="13092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600"/>
              <a:t>A physical machine or equipment like a CNC machine, robot, or sensor used in factories.</a:t>
            </a:r>
            <a:endParaRPr lang="en-IN" sz="16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DB7191-8E01-0286-5DE3-BB47418E2013}"/>
              </a:ext>
            </a:extLst>
          </p:cNvPr>
          <p:cNvSpPr txBox="1"/>
          <p:nvPr/>
        </p:nvSpPr>
        <p:spPr>
          <a:xfrm>
            <a:off x="839287" y="3201554"/>
            <a:ext cx="3066473" cy="132343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600"/>
              <a:t>A wired or wireless system, using protocols like OPC UA, MQTT, or Profibus, that connects industrial devices to share data.</a:t>
            </a:r>
            <a:endParaRPr lang="en-IN" sz="16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097431E-B66F-D447-1BF3-9807D1954348}"/>
              </a:ext>
            </a:extLst>
          </p:cNvPr>
          <p:cNvSpPr txBox="1"/>
          <p:nvPr/>
        </p:nvSpPr>
        <p:spPr>
          <a:xfrm>
            <a:off x="8437944" y="3201554"/>
            <a:ext cx="3066473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600"/>
              <a:t>A secure ecosystem where industrial devices are connected through a network to exchange data and improve operations</a:t>
            </a:r>
            <a:endParaRPr lang="en-IN" sz="1600"/>
          </a:p>
        </p:txBody>
      </p:sp>
      <p:sp>
        <p:nvSpPr>
          <p:cNvPr id="2" name="Rounded Rectangle 23">
            <a:extLst>
              <a:ext uri="{FF2B5EF4-FFF2-40B4-BE49-F238E27FC236}">
                <a16:creationId xmlns:a16="http://schemas.microsoft.com/office/drawing/2014/main" id="{B4B71B4D-F0D8-7932-C2BB-08EDECF07275}"/>
              </a:ext>
            </a:extLst>
          </p:cNvPr>
          <p:cNvSpPr/>
          <p:nvPr/>
        </p:nvSpPr>
        <p:spPr>
          <a:xfrm>
            <a:off x="2102596" y="1795558"/>
            <a:ext cx="539854" cy="564393"/>
          </a:xfrm>
          <a:custGeom>
            <a:avLst/>
            <a:gdLst/>
            <a:ahLst/>
            <a:cxnLst/>
            <a:rect l="0" t="0" r="0" b="0"/>
            <a:pathLst>
              <a:path w="369376" h="386166">
                <a:moveTo>
                  <a:pt x="36501" y="293251"/>
                </a:moveTo>
                <a:lnTo>
                  <a:pt x="0" y="386166"/>
                </a:lnTo>
                <a:moveTo>
                  <a:pt x="65362" y="302216"/>
                </a:moveTo>
                <a:lnTo>
                  <a:pt x="50369" y="386166"/>
                </a:lnTo>
                <a:moveTo>
                  <a:pt x="332875" y="293251"/>
                </a:moveTo>
                <a:lnTo>
                  <a:pt x="369376" y="386166"/>
                </a:lnTo>
                <a:moveTo>
                  <a:pt x="304013" y="302216"/>
                </a:moveTo>
                <a:lnTo>
                  <a:pt x="319006" y="386166"/>
                </a:lnTo>
                <a:moveTo>
                  <a:pt x="223842" y="199228"/>
                </a:moveTo>
                <a:lnTo>
                  <a:pt x="284419" y="247683"/>
                </a:lnTo>
                <a:moveTo>
                  <a:pt x="84956" y="247683"/>
                </a:moveTo>
                <a:lnTo>
                  <a:pt x="145517" y="199228"/>
                </a:lnTo>
                <a:moveTo>
                  <a:pt x="55591" y="235359"/>
                </a:moveTo>
                <a:lnTo>
                  <a:pt x="47515" y="150587"/>
                </a:lnTo>
                <a:moveTo>
                  <a:pt x="152753" y="312492"/>
                </a:moveTo>
                <a:lnTo>
                  <a:pt x="89103" y="282791"/>
                </a:lnTo>
                <a:moveTo>
                  <a:pt x="280255" y="282807"/>
                </a:moveTo>
                <a:lnTo>
                  <a:pt x="216622" y="312492"/>
                </a:lnTo>
                <a:moveTo>
                  <a:pt x="321810" y="151108"/>
                </a:moveTo>
                <a:lnTo>
                  <a:pt x="313785" y="235275"/>
                </a:lnTo>
                <a:moveTo>
                  <a:pt x="297297" y="79953"/>
                </a:moveTo>
                <a:lnTo>
                  <a:pt x="215732" y="46373"/>
                </a:lnTo>
                <a:moveTo>
                  <a:pt x="72061" y="79953"/>
                </a:moveTo>
                <a:lnTo>
                  <a:pt x="153660" y="46356"/>
                </a:lnTo>
                <a:moveTo>
                  <a:pt x="58764" y="235057"/>
                </a:moveTo>
                <a:cubicBezTo>
                  <a:pt x="77309" y="235057"/>
                  <a:pt x="92344" y="250091"/>
                  <a:pt x="92344" y="268637"/>
                </a:cubicBezTo>
                <a:cubicBezTo>
                  <a:pt x="92344" y="287182"/>
                  <a:pt x="77309" y="302216"/>
                  <a:pt x="58764" y="302216"/>
                </a:cubicBezTo>
                <a:cubicBezTo>
                  <a:pt x="40218" y="302216"/>
                  <a:pt x="25184" y="287182"/>
                  <a:pt x="25184" y="268637"/>
                </a:cubicBezTo>
                <a:cubicBezTo>
                  <a:pt x="25184" y="250091"/>
                  <a:pt x="40218" y="235057"/>
                  <a:pt x="58764" y="235057"/>
                </a:cubicBezTo>
                <a:close/>
                <a:moveTo>
                  <a:pt x="184688" y="0"/>
                </a:moveTo>
                <a:cubicBezTo>
                  <a:pt x="203233" y="0"/>
                  <a:pt x="218267" y="15034"/>
                  <a:pt x="218267" y="33579"/>
                </a:cubicBezTo>
                <a:cubicBezTo>
                  <a:pt x="218267" y="52125"/>
                  <a:pt x="203233" y="67159"/>
                  <a:pt x="184688" y="67159"/>
                </a:cubicBezTo>
                <a:cubicBezTo>
                  <a:pt x="166142" y="67159"/>
                  <a:pt x="151108" y="52125"/>
                  <a:pt x="151108" y="33579"/>
                </a:cubicBezTo>
                <a:cubicBezTo>
                  <a:pt x="151108" y="15034"/>
                  <a:pt x="166142" y="0"/>
                  <a:pt x="184688" y="0"/>
                </a:cubicBezTo>
                <a:close/>
                <a:moveTo>
                  <a:pt x="41974" y="67159"/>
                </a:moveTo>
                <a:cubicBezTo>
                  <a:pt x="65156" y="67159"/>
                  <a:pt x="83949" y="85952"/>
                  <a:pt x="83949" y="109133"/>
                </a:cubicBezTo>
                <a:cubicBezTo>
                  <a:pt x="83949" y="132315"/>
                  <a:pt x="65156" y="151108"/>
                  <a:pt x="41974" y="151108"/>
                </a:cubicBezTo>
                <a:cubicBezTo>
                  <a:pt x="18792" y="151108"/>
                  <a:pt x="0" y="132315"/>
                  <a:pt x="0" y="109133"/>
                </a:cubicBezTo>
                <a:cubicBezTo>
                  <a:pt x="0" y="85952"/>
                  <a:pt x="18792" y="67159"/>
                  <a:pt x="41974" y="67159"/>
                </a:cubicBezTo>
                <a:close/>
                <a:moveTo>
                  <a:pt x="310611" y="235057"/>
                </a:moveTo>
                <a:cubicBezTo>
                  <a:pt x="329157" y="235057"/>
                  <a:pt x="344191" y="250091"/>
                  <a:pt x="344191" y="268637"/>
                </a:cubicBezTo>
                <a:cubicBezTo>
                  <a:pt x="344191" y="287182"/>
                  <a:pt x="329157" y="302216"/>
                  <a:pt x="310611" y="302216"/>
                </a:cubicBezTo>
                <a:cubicBezTo>
                  <a:pt x="292066" y="302216"/>
                  <a:pt x="277032" y="287182"/>
                  <a:pt x="277032" y="268637"/>
                </a:cubicBezTo>
                <a:cubicBezTo>
                  <a:pt x="277032" y="250091"/>
                  <a:pt x="292066" y="235057"/>
                  <a:pt x="310611" y="235057"/>
                </a:cubicBezTo>
                <a:close/>
                <a:moveTo>
                  <a:pt x="327401" y="67159"/>
                </a:moveTo>
                <a:cubicBezTo>
                  <a:pt x="350583" y="67159"/>
                  <a:pt x="369376" y="85952"/>
                  <a:pt x="369376" y="109133"/>
                </a:cubicBezTo>
                <a:cubicBezTo>
                  <a:pt x="369376" y="132315"/>
                  <a:pt x="350583" y="151108"/>
                  <a:pt x="327401" y="151108"/>
                </a:cubicBezTo>
                <a:cubicBezTo>
                  <a:pt x="304219" y="151108"/>
                  <a:pt x="285427" y="132315"/>
                  <a:pt x="285427" y="109133"/>
                </a:cubicBezTo>
                <a:cubicBezTo>
                  <a:pt x="285427" y="85952"/>
                  <a:pt x="304219" y="67159"/>
                  <a:pt x="327401" y="67159"/>
                </a:cubicBezTo>
                <a:close/>
                <a:moveTo>
                  <a:pt x="137928" y="149194"/>
                </a:moveTo>
                <a:lnTo>
                  <a:pt x="58764" y="117528"/>
                </a:lnTo>
                <a:moveTo>
                  <a:pt x="231414" y="149211"/>
                </a:moveTo>
                <a:lnTo>
                  <a:pt x="310611" y="117528"/>
                </a:lnTo>
                <a:moveTo>
                  <a:pt x="184688" y="67159"/>
                </a:moveTo>
                <a:lnTo>
                  <a:pt x="184688" y="117528"/>
                </a:lnTo>
                <a:moveTo>
                  <a:pt x="203274" y="214708"/>
                </a:moveTo>
                <a:lnTo>
                  <a:pt x="226662" y="386166"/>
                </a:lnTo>
                <a:moveTo>
                  <a:pt x="142713" y="386166"/>
                </a:moveTo>
                <a:lnTo>
                  <a:pt x="166101" y="214708"/>
                </a:lnTo>
                <a:moveTo>
                  <a:pt x="184688" y="117528"/>
                </a:moveTo>
                <a:cubicBezTo>
                  <a:pt x="212506" y="117528"/>
                  <a:pt x="235057" y="140079"/>
                  <a:pt x="235057" y="167898"/>
                </a:cubicBezTo>
                <a:cubicBezTo>
                  <a:pt x="235057" y="195716"/>
                  <a:pt x="212506" y="218267"/>
                  <a:pt x="184688" y="218267"/>
                </a:cubicBezTo>
                <a:cubicBezTo>
                  <a:pt x="156869" y="218267"/>
                  <a:pt x="134318" y="195716"/>
                  <a:pt x="134318" y="167898"/>
                </a:cubicBezTo>
                <a:cubicBezTo>
                  <a:pt x="134318" y="140079"/>
                  <a:pt x="156869" y="117528"/>
                  <a:pt x="184688" y="117528"/>
                </a:cubicBezTo>
                <a:close/>
              </a:path>
            </a:pathLst>
          </a:custGeom>
          <a:noFill/>
          <a:ln w="19050">
            <a:solidFill>
              <a:schemeClr val="bg2"/>
            </a:solidFill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Rounded Rectangle 24">
            <a:extLst>
              <a:ext uri="{FF2B5EF4-FFF2-40B4-BE49-F238E27FC236}">
                <a16:creationId xmlns:a16="http://schemas.microsoft.com/office/drawing/2014/main" id="{CB665AB2-18E7-1992-8B53-19F03165B9B4}"/>
              </a:ext>
            </a:extLst>
          </p:cNvPr>
          <p:cNvSpPr/>
          <p:nvPr/>
        </p:nvSpPr>
        <p:spPr>
          <a:xfrm>
            <a:off x="9334890" y="1789422"/>
            <a:ext cx="564393" cy="564393"/>
          </a:xfrm>
          <a:custGeom>
            <a:avLst/>
            <a:gdLst/>
            <a:ahLst/>
            <a:cxnLst/>
            <a:rect l="0" t="0" r="0" b="0"/>
            <a:pathLst>
              <a:path w="386166" h="386166">
                <a:moveTo>
                  <a:pt x="251847" y="319006"/>
                </a:moveTo>
                <a:lnTo>
                  <a:pt x="134318" y="319006"/>
                </a:lnTo>
                <a:moveTo>
                  <a:pt x="193083" y="285427"/>
                </a:moveTo>
                <a:lnTo>
                  <a:pt x="193083" y="319006"/>
                </a:lnTo>
                <a:moveTo>
                  <a:pt x="251847" y="235057"/>
                </a:moveTo>
                <a:lnTo>
                  <a:pt x="50369" y="235057"/>
                </a:lnTo>
                <a:moveTo>
                  <a:pt x="16789" y="0"/>
                </a:moveTo>
                <a:lnTo>
                  <a:pt x="83949" y="0"/>
                </a:lnTo>
                <a:cubicBezTo>
                  <a:pt x="83949" y="0"/>
                  <a:pt x="100738" y="0"/>
                  <a:pt x="100738" y="16789"/>
                </a:cubicBezTo>
                <a:lnTo>
                  <a:pt x="100738" y="134318"/>
                </a:lnTo>
                <a:cubicBezTo>
                  <a:pt x="100738" y="134318"/>
                  <a:pt x="100738" y="151108"/>
                  <a:pt x="83949" y="151108"/>
                </a:cubicBezTo>
                <a:lnTo>
                  <a:pt x="16789" y="151108"/>
                </a:lnTo>
                <a:cubicBezTo>
                  <a:pt x="16789" y="151108"/>
                  <a:pt x="0" y="151108"/>
                  <a:pt x="0" y="134318"/>
                </a:cubicBezTo>
                <a:lnTo>
                  <a:pt x="0" y="16789"/>
                </a:lnTo>
                <a:cubicBezTo>
                  <a:pt x="0" y="16789"/>
                  <a:pt x="0" y="0"/>
                  <a:pt x="16789" y="0"/>
                </a:cubicBezTo>
                <a:moveTo>
                  <a:pt x="302216" y="235057"/>
                </a:moveTo>
                <a:lnTo>
                  <a:pt x="369376" y="235057"/>
                </a:lnTo>
                <a:cubicBezTo>
                  <a:pt x="369376" y="235057"/>
                  <a:pt x="386166" y="235057"/>
                  <a:pt x="386166" y="251847"/>
                </a:cubicBezTo>
                <a:lnTo>
                  <a:pt x="386166" y="369376"/>
                </a:lnTo>
                <a:cubicBezTo>
                  <a:pt x="386166" y="369376"/>
                  <a:pt x="386166" y="386166"/>
                  <a:pt x="369376" y="386166"/>
                </a:cubicBezTo>
                <a:lnTo>
                  <a:pt x="302216" y="386166"/>
                </a:lnTo>
                <a:cubicBezTo>
                  <a:pt x="302216" y="386166"/>
                  <a:pt x="285427" y="386166"/>
                  <a:pt x="285427" y="369376"/>
                </a:cubicBezTo>
                <a:lnTo>
                  <a:pt x="285427" y="251847"/>
                </a:lnTo>
                <a:cubicBezTo>
                  <a:pt x="285427" y="251847"/>
                  <a:pt x="285427" y="235057"/>
                  <a:pt x="302216" y="235057"/>
                </a:cubicBezTo>
                <a:moveTo>
                  <a:pt x="285427" y="352586"/>
                </a:moveTo>
                <a:lnTo>
                  <a:pt x="386166" y="352586"/>
                </a:lnTo>
                <a:moveTo>
                  <a:pt x="134318" y="83949"/>
                </a:moveTo>
                <a:lnTo>
                  <a:pt x="310611" y="83949"/>
                </a:lnTo>
                <a:cubicBezTo>
                  <a:pt x="324521" y="83949"/>
                  <a:pt x="335796" y="95224"/>
                  <a:pt x="335796" y="109133"/>
                </a:cubicBezTo>
                <a:lnTo>
                  <a:pt x="335796" y="201477"/>
                </a:lnTo>
                <a:moveTo>
                  <a:pt x="251847" y="285427"/>
                </a:moveTo>
                <a:lnTo>
                  <a:pt x="75554" y="285427"/>
                </a:lnTo>
                <a:cubicBezTo>
                  <a:pt x="61645" y="285427"/>
                  <a:pt x="50369" y="274151"/>
                  <a:pt x="50369" y="260242"/>
                </a:cubicBezTo>
                <a:lnTo>
                  <a:pt x="50369" y="184688"/>
                </a:lnTo>
              </a:path>
            </a:pathLst>
          </a:custGeom>
          <a:noFill/>
          <a:ln w="19050">
            <a:solidFill>
              <a:schemeClr val="accent6"/>
            </a:solidFill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10" name="Rounded Rectangle 25">
            <a:extLst>
              <a:ext uri="{FF2B5EF4-FFF2-40B4-BE49-F238E27FC236}">
                <a16:creationId xmlns:a16="http://schemas.microsoft.com/office/drawing/2014/main" id="{A41B167D-0103-0E93-5F7C-5928EEA1EF6D}"/>
              </a:ext>
            </a:extLst>
          </p:cNvPr>
          <p:cNvSpPr/>
          <p:nvPr/>
        </p:nvSpPr>
        <p:spPr>
          <a:xfrm>
            <a:off x="5887267" y="1801692"/>
            <a:ext cx="552123" cy="552123"/>
          </a:xfrm>
          <a:custGeom>
            <a:avLst/>
            <a:gdLst/>
            <a:ahLst/>
            <a:cxnLst/>
            <a:rect l="0" t="0" r="0" b="0"/>
            <a:pathLst>
              <a:path w="377771" h="377771">
                <a:moveTo>
                  <a:pt x="377771" y="277032"/>
                </a:moveTo>
                <a:lnTo>
                  <a:pt x="377771" y="377771"/>
                </a:lnTo>
                <a:lnTo>
                  <a:pt x="0" y="377771"/>
                </a:lnTo>
                <a:lnTo>
                  <a:pt x="0" y="247650"/>
                </a:lnTo>
                <a:lnTo>
                  <a:pt x="109133" y="193083"/>
                </a:lnTo>
                <a:lnTo>
                  <a:pt x="109133" y="247650"/>
                </a:lnTo>
                <a:lnTo>
                  <a:pt x="209872" y="193083"/>
                </a:lnTo>
                <a:lnTo>
                  <a:pt x="209872" y="277032"/>
                </a:lnTo>
                <a:close/>
                <a:moveTo>
                  <a:pt x="159503" y="319006"/>
                </a:moveTo>
                <a:cubicBezTo>
                  <a:pt x="159503" y="309734"/>
                  <a:pt x="151986" y="302216"/>
                  <a:pt x="142713" y="302216"/>
                </a:cubicBezTo>
                <a:lnTo>
                  <a:pt x="92344" y="302216"/>
                </a:lnTo>
                <a:cubicBezTo>
                  <a:pt x="83071" y="302216"/>
                  <a:pt x="75554" y="309734"/>
                  <a:pt x="75554" y="319006"/>
                </a:cubicBezTo>
                <a:lnTo>
                  <a:pt x="75554" y="377771"/>
                </a:lnTo>
                <a:lnTo>
                  <a:pt x="159503" y="377771"/>
                </a:lnTo>
                <a:close/>
                <a:moveTo>
                  <a:pt x="260242" y="327401"/>
                </a:moveTo>
                <a:lnTo>
                  <a:pt x="243452" y="327401"/>
                </a:lnTo>
                <a:moveTo>
                  <a:pt x="327401" y="327401"/>
                </a:moveTo>
                <a:lnTo>
                  <a:pt x="310611" y="327401"/>
                </a:lnTo>
                <a:moveTo>
                  <a:pt x="268637" y="172095"/>
                </a:moveTo>
                <a:lnTo>
                  <a:pt x="352586" y="172095"/>
                </a:lnTo>
                <a:lnTo>
                  <a:pt x="352586" y="277032"/>
                </a:lnTo>
                <a:lnTo>
                  <a:pt x="268637" y="277032"/>
                </a:lnTo>
                <a:close/>
                <a:moveTo>
                  <a:pt x="335393" y="75839"/>
                </a:moveTo>
                <a:lnTo>
                  <a:pt x="352586" y="172095"/>
                </a:lnTo>
                <a:lnTo>
                  <a:pt x="268637" y="172095"/>
                </a:lnTo>
                <a:lnTo>
                  <a:pt x="285830" y="75806"/>
                </a:lnTo>
                <a:moveTo>
                  <a:pt x="268637" y="41974"/>
                </a:moveTo>
                <a:cubicBezTo>
                  <a:pt x="268637" y="18792"/>
                  <a:pt x="287429" y="0"/>
                  <a:pt x="310611" y="0"/>
                </a:cubicBezTo>
                <a:cubicBezTo>
                  <a:pt x="333793" y="0"/>
                  <a:pt x="352586" y="18792"/>
                  <a:pt x="352586" y="41974"/>
                </a:cubicBezTo>
                <a:cubicBezTo>
                  <a:pt x="352586" y="65156"/>
                  <a:pt x="333793" y="83949"/>
                  <a:pt x="310611" y="83949"/>
                </a:cubicBezTo>
                <a:cubicBezTo>
                  <a:pt x="287429" y="83949"/>
                  <a:pt x="268637" y="65156"/>
                  <a:pt x="268637" y="41974"/>
                </a:cubicBezTo>
                <a:moveTo>
                  <a:pt x="310611" y="25184"/>
                </a:moveTo>
                <a:cubicBezTo>
                  <a:pt x="301339" y="25184"/>
                  <a:pt x="293822" y="32701"/>
                  <a:pt x="293822" y="41974"/>
                </a:cubicBezTo>
                <a:cubicBezTo>
                  <a:pt x="293822" y="51247"/>
                  <a:pt x="301339" y="58764"/>
                  <a:pt x="310611" y="58764"/>
                </a:cubicBezTo>
                <a:cubicBezTo>
                  <a:pt x="319884" y="58764"/>
                  <a:pt x="327401" y="51247"/>
                  <a:pt x="327401" y="41974"/>
                </a:cubicBezTo>
                <a:cubicBezTo>
                  <a:pt x="327401" y="32701"/>
                  <a:pt x="319884" y="25184"/>
                  <a:pt x="310611" y="25184"/>
                </a:cubicBezTo>
                <a:close/>
                <a:moveTo>
                  <a:pt x="71356" y="0"/>
                </a:moveTo>
                <a:lnTo>
                  <a:pt x="121726" y="0"/>
                </a:lnTo>
                <a:lnTo>
                  <a:pt x="121726" y="83949"/>
                </a:lnTo>
                <a:lnTo>
                  <a:pt x="71356" y="83949"/>
                </a:lnTo>
                <a:close/>
                <a:moveTo>
                  <a:pt x="268637" y="41974"/>
                </a:moveTo>
                <a:lnTo>
                  <a:pt x="121726" y="41974"/>
                </a:lnTo>
                <a:moveTo>
                  <a:pt x="84788" y="83949"/>
                </a:moveTo>
                <a:cubicBezTo>
                  <a:pt x="84003" y="85263"/>
                  <a:pt x="83030" y="86457"/>
                  <a:pt x="81900" y="87491"/>
                </a:cubicBezTo>
                <a:lnTo>
                  <a:pt x="54566" y="109318"/>
                </a:lnTo>
                <a:lnTo>
                  <a:pt x="66437" y="121239"/>
                </a:lnTo>
                <a:cubicBezTo>
                  <a:pt x="71070" y="125393"/>
                  <a:pt x="73026" y="131768"/>
                  <a:pt x="71519" y="137806"/>
                </a:cubicBezTo>
                <a:cubicBezTo>
                  <a:pt x="70013" y="143843"/>
                  <a:pt x="65290" y="148552"/>
                  <a:pt x="59249" y="150042"/>
                </a:cubicBezTo>
                <a:cubicBezTo>
                  <a:pt x="53207" y="151532"/>
                  <a:pt x="46837" y="149558"/>
                  <a:pt x="42696" y="144913"/>
                </a:cubicBezTo>
                <a:lnTo>
                  <a:pt x="17511" y="119728"/>
                </a:lnTo>
                <a:cubicBezTo>
                  <a:pt x="14133" y="116352"/>
                  <a:pt x="12353" y="111697"/>
                  <a:pt x="12616" y="106928"/>
                </a:cubicBezTo>
                <a:cubicBezTo>
                  <a:pt x="12879" y="102160"/>
                  <a:pt x="15160" y="97729"/>
                  <a:pt x="18888" y="94745"/>
                </a:cubicBezTo>
                <a:lnTo>
                  <a:pt x="60863" y="61165"/>
                </a:lnTo>
                <a:cubicBezTo>
                  <a:pt x="63875" y="58881"/>
                  <a:pt x="67578" y="57697"/>
                  <a:pt x="71356" y="57807"/>
                </a:cubicBezTo>
                <a:moveTo>
                  <a:pt x="121726" y="57807"/>
                </a:moveTo>
                <a:cubicBezTo>
                  <a:pt x="125518" y="57730"/>
                  <a:pt x="129222" y="58957"/>
                  <a:pt x="132219" y="61282"/>
                </a:cubicBezTo>
                <a:lnTo>
                  <a:pt x="174194" y="94862"/>
                </a:lnTo>
                <a:cubicBezTo>
                  <a:pt x="177906" y="97846"/>
                  <a:pt x="180176" y="102266"/>
                  <a:pt x="180438" y="107022"/>
                </a:cubicBezTo>
                <a:cubicBezTo>
                  <a:pt x="180701" y="111777"/>
                  <a:pt x="178931" y="116420"/>
                  <a:pt x="175571" y="119795"/>
                </a:cubicBezTo>
                <a:lnTo>
                  <a:pt x="150386" y="144980"/>
                </a:lnTo>
                <a:cubicBezTo>
                  <a:pt x="143830" y="151551"/>
                  <a:pt x="133189" y="151562"/>
                  <a:pt x="126619" y="145006"/>
                </a:cubicBezTo>
                <a:cubicBezTo>
                  <a:pt x="120049" y="138450"/>
                  <a:pt x="120038" y="127808"/>
                  <a:pt x="126595" y="121239"/>
                </a:cubicBezTo>
                <a:lnTo>
                  <a:pt x="138516" y="109318"/>
                </a:lnTo>
                <a:lnTo>
                  <a:pt x="111232" y="87458"/>
                </a:lnTo>
                <a:cubicBezTo>
                  <a:pt x="110092" y="86433"/>
                  <a:pt x="109103" y="85251"/>
                  <a:pt x="108294" y="83949"/>
                </a:cubicBezTo>
              </a:path>
            </a:pathLst>
          </a:custGeom>
          <a:noFill/>
          <a:ln w="19050">
            <a:solidFill>
              <a:schemeClr val="accent5">
                <a:lumMod val="75000"/>
              </a:schemeClr>
            </a:solidFill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AA982988-2FF1-0191-7C37-30F5C3F2AE06}"/>
              </a:ext>
            </a:extLst>
          </p:cNvPr>
          <p:cNvSpPr txBox="1">
            <a:spLocks/>
          </p:cNvSpPr>
          <p:nvPr/>
        </p:nvSpPr>
        <p:spPr>
          <a:xfrm>
            <a:off x="4718557" y="2560760"/>
            <a:ext cx="3514070" cy="890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IN" sz="2800">
                <a:solidFill>
                  <a:schemeClr val="accent5">
                    <a:lumMod val="75000"/>
                  </a:schemeClr>
                </a:solidFill>
              </a:rPr>
              <a:t>Industrial Devices  </a:t>
            </a:r>
            <a:r>
              <a:rPr lang="en-IN" sz="2800"/>
              <a:t>=</a:t>
            </a:r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E3BE6F8C-A7E4-2D66-9623-E6E10890ED3E}"/>
              </a:ext>
            </a:extLst>
          </p:cNvPr>
          <p:cNvSpPr txBox="1">
            <a:spLocks/>
          </p:cNvSpPr>
          <p:nvPr/>
        </p:nvSpPr>
        <p:spPr>
          <a:xfrm>
            <a:off x="8344686" y="2560760"/>
            <a:ext cx="2544799" cy="890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IN" sz="2800">
                <a:solidFill>
                  <a:schemeClr val="accent6"/>
                </a:solidFill>
              </a:rPr>
              <a:t>Industrial IoT</a:t>
            </a:r>
          </a:p>
        </p:txBody>
      </p:sp>
      <p:sp>
        <p:nvSpPr>
          <p:cNvPr id="14" name="Date Placeholder 5">
            <a:extLst>
              <a:ext uri="{FF2B5EF4-FFF2-40B4-BE49-F238E27FC236}">
                <a16:creationId xmlns:a16="http://schemas.microsoft.com/office/drawing/2014/main" id="{B6383C7A-29A0-B096-CE41-F1BD35BADC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15" name="Footer Placeholder 6">
            <a:extLst>
              <a:ext uri="{FF2B5EF4-FFF2-40B4-BE49-F238E27FC236}">
                <a16:creationId xmlns:a16="http://schemas.microsoft.com/office/drawing/2014/main" id="{562EC0BB-EB64-EBA0-257D-9E13DD7E3B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16" name="Slide Number Placeholder 7">
            <a:extLst>
              <a:ext uri="{FF2B5EF4-FFF2-40B4-BE49-F238E27FC236}">
                <a16:creationId xmlns:a16="http://schemas.microsoft.com/office/drawing/2014/main" id="{8EA77219-3DE9-F7CB-2815-97D82A5E3E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36" name="TextBox 35"/>
          <p:cNvSpPr txBox="1"/>
          <p:nvPr/>
        </p:nvSpPr>
        <p:spPr>
          <a:xfrm>
            <a:off x="91440" y="914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t>🔊</a:t>
            </a:r>
          </a:p>
        </p:txBody>
      </p:sp>
    </p:spTree>
    <p:extLst>
      <p:ext uri="{BB962C8B-B14F-4D97-AF65-F5344CB8AC3E}">
        <p14:creationId xmlns:p14="http://schemas.microsoft.com/office/powerpoint/2010/main" val="3065532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  <p:bldP spid="11" grpId="0"/>
      <p:bldP spid="2" grpId="0" animBg="1"/>
      <p:bldP spid="8" grpId="0" animBg="1"/>
      <p:bldP spid="10" grpId="0" animBg="1"/>
      <p:bldP spid="12" grpId="0"/>
      <p:bldP spid="1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5EE0EB-EAAE-DC6E-0D0F-24237B2EA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What is </a:t>
            </a:r>
            <a:r>
              <a:rPr lang="en-IN" err="1"/>
              <a:t>IIoT</a:t>
            </a:r>
            <a:r>
              <a:rPr lang="en-IN"/>
              <a:t>?</a:t>
            </a:r>
            <a:br>
              <a:rPr lang="en-IN"/>
            </a:br>
            <a:r>
              <a:rPr lang="en-IN" b="0"/>
              <a:t>Connected Machines in Industry</a:t>
            </a:r>
            <a:br>
              <a:rPr lang="en-IN"/>
            </a:b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6D6DEA-FBCD-D7D7-BDCA-E32BBBFEC9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4" y="1459230"/>
            <a:ext cx="5581650" cy="4656138"/>
          </a:xfrm>
        </p:spPr>
        <p:txBody>
          <a:bodyPr/>
          <a:lstStyle/>
          <a:p>
            <a:r>
              <a:rPr lang="en-US" dirty="0"/>
              <a:t>The Industrial Internet of Things (</a:t>
            </a:r>
            <a:r>
              <a:rPr lang="en-US" dirty="0" err="1"/>
              <a:t>IIoT</a:t>
            </a:r>
            <a:r>
              <a:rPr lang="en-US" dirty="0"/>
              <a:t>) is an ecosystem where industrial machines, equipment, and sensors are connected through secure networks so they can collect, share, and analyze machine data. </a:t>
            </a:r>
          </a:p>
          <a:p>
            <a:r>
              <a:rPr lang="en-US" dirty="0"/>
              <a:t>This helps factories, plants, and other industrial sites automate processes, monitor operations in real time, and improve productivity, safety, and efficiency</a:t>
            </a:r>
          </a:p>
          <a:p>
            <a:endParaRPr lang="en-US" dirty="0"/>
          </a:p>
          <a:p>
            <a:r>
              <a:rPr lang="en-US" b="1" dirty="0"/>
              <a:t>Example:</a:t>
            </a:r>
          </a:p>
          <a:p>
            <a:pPr lvl="1"/>
            <a:r>
              <a:rPr lang="en-US" dirty="0"/>
              <a:t>Bosch smart factory, machines, conveyor systems, and sensors are connected to share real-time data about production. </a:t>
            </a:r>
          </a:p>
          <a:p>
            <a:pPr lvl="1"/>
            <a:r>
              <a:rPr lang="en-US" dirty="0"/>
              <a:t>This helps monitor equipment conditions, detect problems early, and keep the production line running smoothly and efficiently.</a:t>
            </a:r>
            <a:endParaRPr lang="en-IN" dirty="0"/>
          </a:p>
        </p:txBody>
      </p:sp>
      <p:pic>
        <p:nvPicPr>
          <p:cNvPr id="8" name="Online Media 7" title="Industry 4.0 in action [en]">
            <a:hlinkClick r:id="" action="ppaction://media"/>
            <a:extLst>
              <a:ext uri="{FF2B5EF4-FFF2-40B4-BE49-F238E27FC236}">
                <a16:creationId xmlns:a16="http://schemas.microsoft.com/office/drawing/2014/main" id="{38F5AE79-52F1-5651-975A-381269797CA2}"/>
              </a:ext>
            </a:extLst>
          </p:cNvPr>
          <p:cNvPicPr>
            <a:picLocks noGrp="1" noRot="1" noChangeAspect="1"/>
          </p:cNvPicPr>
          <p:nvPr>
            <p:ph idx="13"/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6275388" y="1459230"/>
            <a:ext cx="5581650" cy="3154362"/>
          </a:xfrm>
          <a:prstGeom prst="rect">
            <a:avLst/>
          </a:prstGeom>
        </p:spPr>
      </p:pic>
      <p:sp>
        <p:nvSpPr>
          <p:cNvPr id="7" name="Date Placeholder 5">
            <a:extLst>
              <a:ext uri="{FF2B5EF4-FFF2-40B4-BE49-F238E27FC236}">
                <a16:creationId xmlns:a16="http://schemas.microsoft.com/office/drawing/2014/main" id="{34CA7FA9-2173-8412-7F55-BA584C6AFC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B6EDA3CD-5405-DDB7-FC5D-6B94541FDA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10" name="Slide Number Placeholder 7">
            <a:extLst>
              <a:ext uri="{FF2B5EF4-FFF2-40B4-BE49-F238E27FC236}">
                <a16:creationId xmlns:a16="http://schemas.microsoft.com/office/drawing/2014/main" id="{B9F6D432-6752-26C6-FCC8-8EA72B30A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D29FA0-32E5-C039-3983-D8740ED27366}"/>
              </a:ext>
            </a:extLst>
          </p:cNvPr>
          <p:cNvSpPr txBox="1"/>
          <p:nvPr/>
        </p:nvSpPr>
        <p:spPr>
          <a:xfrm>
            <a:off x="8477250" y="4818215"/>
            <a:ext cx="923926" cy="16192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CA" sz="1000" i="1" dirty="0"/>
              <a:t>Source link: </a:t>
            </a:r>
            <a:r>
              <a:rPr lang="en-CA" sz="1000" i="1" dirty="0">
                <a:hlinkClick r:id="rId4"/>
              </a:rPr>
              <a:t>link</a:t>
            </a:r>
            <a:endParaRPr lang="en-CA" sz="1000" i="1" dirty="0"/>
          </a:p>
        </p:txBody>
      </p:sp>
      <p:sp>
        <p:nvSpPr>
          <p:cNvPr id="32" name="TextBox 31"/>
          <p:cNvSpPr txBox="1"/>
          <p:nvPr/>
        </p:nvSpPr>
        <p:spPr>
          <a:xfrm>
            <a:off x="91440" y="914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t>🔊</a:t>
            </a:r>
          </a:p>
        </p:txBody>
      </p:sp>
    </p:spTree>
    <p:extLst>
      <p:ext uri="{BB962C8B-B14F-4D97-AF65-F5344CB8AC3E}">
        <p14:creationId xmlns:p14="http://schemas.microsoft.com/office/powerpoint/2010/main" val="1009956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6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27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8" fill="hold">
                      <p:stCondLst>
                        <p:cond delay="0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1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B359A-3923-621D-3DA9-8592A3A1A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Noto Sans" pitchFamily="34" charset="0"/>
                <a:ea typeface="Noto Sans" pitchFamily="34" charset="-122"/>
                <a:cs typeface="Noto Sans" pitchFamily="34" charset="-120"/>
              </a:rPr>
              <a:t>Evolution: M2M → IoT → IIoT</a:t>
            </a:r>
            <a:br>
              <a:rPr lang="en-US"/>
            </a:br>
            <a:r>
              <a:rPr lang="en-US" b="0">
                <a:latin typeface="Noto Sans" pitchFamily="34" charset="0"/>
                <a:ea typeface="Noto Sans" pitchFamily="34" charset="-122"/>
                <a:cs typeface="Noto Sans" pitchFamily="34" charset="-120"/>
              </a:rPr>
              <a:t>How Industry Connectivity Has Evolved</a:t>
            </a:r>
            <a:br>
              <a:rPr lang="en-US"/>
            </a:br>
            <a:endParaRPr lang="en-IN"/>
          </a:p>
        </p:txBody>
      </p:sp>
      <p:sp>
        <p:nvSpPr>
          <p:cNvPr id="8" name="Text 2">
            <a:extLst>
              <a:ext uri="{FF2B5EF4-FFF2-40B4-BE49-F238E27FC236}">
                <a16:creationId xmlns:a16="http://schemas.microsoft.com/office/drawing/2014/main" id="{B48FE2D2-92FA-EC68-2A15-200633559891}"/>
              </a:ext>
            </a:extLst>
          </p:cNvPr>
          <p:cNvSpPr/>
          <p:nvPr/>
        </p:nvSpPr>
        <p:spPr>
          <a:xfrm>
            <a:off x="340360" y="1459548"/>
            <a:ext cx="11430000" cy="492443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spAutoFit/>
          </a:bodyPr>
          <a:lstStyle/>
          <a:p>
            <a:pPr marL="177800" indent="-17780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333333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The journey from basic machine connections to intelligent industrial systems represents a significant evolution in connectivity technology.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hape 3">
            <a:extLst>
              <a:ext uri="{FF2B5EF4-FFF2-40B4-BE49-F238E27FC236}">
                <a16:creationId xmlns:a16="http://schemas.microsoft.com/office/drawing/2014/main" id="{A03264A2-BE34-FF1C-2B03-BAF2CE9E0843}"/>
              </a:ext>
            </a:extLst>
          </p:cNvPr>
          <p:cNvSpPr/>
          <p:nvPr/>
        </p:nvSpPr>
        <p:spPr>
          <a:xfrm>
            <a:off x="381000" y="3321391"/>
            <a:ext cx="11430000" cy="38100"/>
          </a:xfrm>
          <a:prstGeom prst="rect">
            <a:avLst/>
          </a:prstGeom>
          <a:solidFill>
            <a:schemeClr val="bg2"/>
          </a:solidFill>
          <a:ln/>
        </p:spPr>
        <p:txBody>
          <a:bodyPr/>
          <a:lstStyle/>
          <a:p>
            <a:endParaRPr lang="en-IN" sz="240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3A4C6F9-15A8-6BE5-44A5-8ABDC7A31094}"/>
              </a:ext>
            </a:extLst>
          </p:cNvPr>
          <p:cNvGrpSpPr/>
          <p:nvPr/>
        </p:nvGrpSpPr>
        <p:grpSpPr>
          <a:xfrm>
            <a:off x="551229" y="2704568"/>
            <a:ext cx="3677920" cy="2602154"/>
            <a:chOff x="447040" y="2704568"/>
            <a:chExt cx="3677920" cy="2602154"/>
          </a:xfrm>
        </p:grpSpPr>
        <p:sp>
          <p:nvSpPr>
            <p:cNvPr id="11" name="Text 4">
              <a:extLst>
                <a:ext uri="{FF2B5EF4-FFF2-40B4-BE49-F238E27FC236}">
                  <a16:creationId xmlns:a16="http://schemas.microsoft.com/office/drawing/2014/main" id="{2E5CF866-A5B5-AE5C-47EB-525D2E8C4B95}"/>
                </a:ext>
              </a:extLst>
            </p:cNvPr>
            <p:cNvSpPr/>
            <p:nvPr/>
          </p:nvSpPr>
          <p:spPr>
            <a:xfrm>
              <a:off x="1635983" y="2704568"/>
              <a:ext cx="1300036" cy="246221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sz="1600">
                  <a:solidFill>
                    <a:schemeClr val="bg2"/>
                  </a:solidFill>
                  <a:latin typeface="Arial" panose="020B0604020202020204" pitchFamily="34" charset="0"/>
                  <a:ea typeface="Noto Sans" pitchFamily="34" charset="-122"/>
                  <a:cs typeface="Arial" panose="020B0604020202020204" pitchFamily="34" charset="0"/>
                </a:rPr>
                <a:t>1970s - 1990s</a:t>
              </a:r>
              <a:endParaRPr lang="en-US"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9AFE4EA-D0A6-0689-EF0E-2DAD99E4109A}"/>
                </a:ext>
              </a:extLst>
            </p:cNvPr>
            <p:cNvGrpSpPr/>
            <p:nvPr/>
          </p:nvGrpSpPr>
          <p:grpSpPr>
            <a:xfrm>
              <a:off x="1905000" y="2980395"/>
              <a:ext cx="762000" cy="762000"/>
              <a:chOff x="1905000" y="2980395"/>
              <a:chExt cx="762000" cy="762000"/>
            </a:xfrm>
          </p:grpSpPr>
          <p:sp>
            <p:nvSpPr>
              <p:cNvPr id="12" name="Shape 5">
                <a:extLst>
                  <a:ext uri="{FF2B5EF4-FFF2-40B4-BE49-F238E27FC236}">
                    <a16:creationId xmlns:a16="http://schemas.microsoft.com/office/drawing/2014/main" id="{0DE8E195-6A76-233D-93D5-9F6EB7A0FF6D}"/>
                  </a:ext>
                </a:extLst>
              </p:cNvPr>
              <p:cNvSpPr/>
              <p:nvPr/>
            </p:nvSpPr>
            <p:spPr>
              <a:xfrm>
                <a:off x="1905000" y="2980395"/>
                <a:ext cx="762000" cy="762000"/>
              </a:xfrm>
              <a:prstGeom prst="ellipse">
                <a:avLst/>
              </a:prstGeom>
              <a:solidFill>
                <a:schemeClr val="bg2"/>
              </a:solidFill>
              <a:ln w="298">
                <a:solidFill>
                  <a:srgbClr val="3498DB"/>
                </a:solidFill>
                <a:prstDash val="solid"/>
              </a:ln>
            </p:spPr>
            <p:txBody>
              <a:bodyPr/>
              <a:lstStyle/>
              <a:p>
                <a:endParaRPr lang="en-IN" sz="2400"/>
              </a:p>
            </p:txBody>
          </p:sp>
          <p:pic>
            <p:nvPicPr>
              <p:cNvPr id="13" name="Image 1" descr="preencoded.png">
                <a:extLst>
                  <a:ext uri="{FF2B5EF4-FFF2-40B4-BE49-F238E27FC236}">
                    <a16:creationId xmlns:a16="http://schemas.microsoft.com/office/drawing/2014/main" id="{6E9E5D03-1223-D995-71AE-E75842706D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biLevel thresh="25000"/>
              </a:blip>
              <a:stretch>
                <a:fillRect/>
              </a:stretch>
            </p:blipFill>
            <p:spPr>
              <a:xfrm>
                <a:off x="2143126" y="3218521"/>
                <a:ext cx="285751" cy="285751"/>
              </a:xfrm>
              <a:prstGeom prst="rect">
                <a:avLst/>
              </a:prstGeom>
            </p:spPr>
          </p:pic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92DACE9-C796-8B17-F774-E42EC6DC0E92}"/>
                </a:ext>
              </a:extLst>
            </p:cNvPr>
            <p:cNvSpPr txBox="1"/>
            <p:nvPr/>
          </p:nvSpPr>
          <p:spPr>
            <a:xfrm>
              <a:off x="447040" y="3860172"/>
              <a:ext cx="3677920" cy="14465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buNone/>
              </a:pPr>
              <a:r>
                <a:rPr lang="en-US" sz="1600" b="1">
                  <a:solidFill>
                    <a:schemeClr val="bg2"/>
                  </a:solidFill>
                </a:rPr>
                <a:t>Machine-to-Machine (M2M)</a:t>
              </a:r>
            </a:p>
            <a:p>
              <a:pPr algn="ctr">
                <a:buNone/>
              </a:pPr>
              <a:endParaRPr lang="en-US" sz="1600" b="1">
                <a:solidFill>
                  <a:schemeClr val="bg2"/>
                </a:solidFill>
              </a:endParaRPr>
            </a:p>
            <a:p>
              <a:pPr marL="182563" indent="-182563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/>
                <a:t>Basic connectivity between machines</a:t>
              </a:r>
            </a:p>
            <a:p>
              <a:pPr marL="639763" lvl="1" indent="-182563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/>
                <a:t>Point-to-point connections</a:t>
              </a:r>
            </a:p>
            <a:p>
              <a:pPr marL="639763" lvl="1" indent="-182563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/>
                <a:t>Telemetry &amp; SCADA systems</a:t>
              </a:r>
            </a:p>
            <a:p>
              <a:pPr marL="639763" lvl="1" indent="-182563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/>
                <a:t>Limited intelligence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1B6457B-6083-B4C3-FA16-D7A2BC6F432D}"/>
              </a:ext>
            </a:extLst>
          </p:cNvPr>
          <p:cNvGrpSpPr/>
          <p:nvPr/>
        </p:nvGrpSpPr>
        <p:grpSpPr>
          <a:xfrm>
            <a:off x="4155489" y="2704568"/>
            <a:ext cx="4089400" cy="2602154"/>
            <a:chOff x="4051300" y="2704568"/>
            <a:chExt cx="4089400" cy="2602154"/>
          </a:xfrm>
        </p:grpSpPr>
        <p:sp>
          <p:nvSpPr>
            <p:cNvPr id="14" name="Text 11">
              <a:extLst>
                <a:ext uri="{FF2B5EF4-FFF2-40B4-BE49-F238E27FC236}">
                  <a16:creationId xmlns:a16="http://schemas.microsoft.com/office/drawing/2014/main" id="{6D9A65B2-1ED2-DAC7-216D-C2797FD60E7E}"/>
                </a:ext>
              </a:extLst>
            </p:cNvPr>
            <p:cNvSpPr/>
            <p:nvPr/>
          </p:nvSpPr>
          <p:spPr>
            <a:xfrm>
              <a:off x="5445983" y="2704568"/>
              <a:ext cx="1300036" cy="246221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sz="1600">
                  <a:solidFill>
                    <a:schemeClr val="bg2"/>
                  </a:solidFill>
                  <a:latin typeface="Arial" panose="020B0604020202020204" pitchFamily="34" charset="0"/>
                  <a:ea typeface="Noto Sans" pitchFamily="34" charset="-122"/>
                  <a:cs typeface="Arial" panose="020B0604020202020204" pitchFamily="34" charset="0"/>
                </a:rPr>
                <a:t>2000s - 2010s</a:t>
              </a:r>
              <a:endParaRPr lang="en-US"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7166D55D-08EB-E136-1482-59BF6B84B209}"/>
                </a:ext>
              </a:extLst>
            </p:cNvPr>
            <p:cNvGrpSpPr/>
            <p:nvPr/>
          </p:nvGrpSpPr>
          <p:grpSpPr>
            <a:xfrm>
              <a:off x="5715000" y="2980395"/>
              <a:ext cx="762000" cy="762000"/>
              <a:chOff x="5715000" y="2980395"/>
              <a:chExt cx="762000" cy="762000"/>
            </a:xfrm>
          </p:grpSpPr>
          <p:sp>
            <p:nvSpPr>
              <p:cNvPr id="15" name="Shape 12">
                <a:extLst>
                  <a:ext uri="{FF2B5EF4-FFF2-40B4-BE49-F238E27FC236}">
                    <a16:creationId xmlns:a16="http://schemas.microsoft.com/office/drawing/2014/main" id="{01942988-B6B5-B1A7-7EE3-AF701080E4C0}"/>
                  </a:ext>
                </a:extLst>
              </p:cNvPr>
              <p:cNvSpPr/>
              <p:nvPr/>
            </p:nvSpPr>
            <p:spPr>
              <a:xfrm>
                <a:off x="5715000" y="2980395"/>
                <a:ext cx="762000" cy="762000"/>
              </a:xfrm>
              <a:prstGeom prst="ellipse">
                <a:avLst/>
              </a:prstGeom>
              <a:solidFill>
                <a:schemeClr val="bg2"/>
              </a:solidFill>
              <a:ln w="298">
                <a:solidFill>
                  <a:srgbClr val="3498DB"/>
                </a:solidFill>
                <a:prstDash val="solid"/>
              </a:ln>
            </p:spPr>
            <p:txBody>
              <a:bodyPr/>
              <a:lstStyle/>
              <a:p>
                <a:endParaRPr lang="en-IN" sz="2400"/>
              </a:p>
            </p:txBody>
          </p:sp>
          <p:pic>
            <p:nvPicPr>
              <p:cNvPr id="16" name="Image 5" descr="preencoded.png">
                <a:extLst>
                  <a:ext uri="{FF2B5EF4-FFF2-40B4-BE49-F238E27FC236}">
                    <a16:creationId xmlns:a16="http://schemas.microsoft.com/office/drawing/2014/main" id="{CEEDF481-173C-4D6B-BFE1-748A40DE51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biLevel thresh="25000"/>
              </a:blip>
              <a:stretch>
                <a:fillRect/>
              </a:stretch>
            </p:blipFill>
            <p:spPr>
              <a:xfrm>
                <a:off x="5917407" y="3218521"/>
                <a:ext cx="357188" cy="285751"/>
              </a:xfrm>
              <a:prstGeom prst="rect">
                <a:avLst/>
              </a:prstGeom>
            </p:spPr>
          </p:pic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5FE2E52-6A56-037A-A02B-62F966C0F8F9}"/>
                </a:ext>
              </a:extLst>
            </p:cNvPr>
            <p:cNvSpPr txBox="1"/>
            <p:nvPr/>
          </p:nvSpPr>
          <p:spPr>
            <a:xfrm>
              <a:off x="4051300" y="3860172"/>
              <a:ext cx="4089400" cy="14465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buNone/>
              </a:pPr>
              <a:r>
                <a:rPr lang="en-US" sz="1600" b="1">
                  <a:solidFill>
                    <a:schemeClr val="bg2"/>
                  </a:solidFill>
                </a:rPr>
                <a:t>Internet of Things (IoT)</a:t>
              </a:r>
            </a:p>
            <a:p>
              <a:pPr algn="ctr">
                <a:buNone/>
              </a:pPr>
              <a:endParaRPr lang="en-US" sz="1600" b="1">
                <a:solidFill>
                  <a:schemeClr val="bg2"/>
                </a:solidFill>
              </a:endParaRPr>
            </a:p>
            <a:p>
              <a:pPr marL="182563" indent="-182563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/>
                <a:t>Smart connectivity with internet integration</a:t>
              </a:r>
            </a:p>
            <a:p>
              <a:pPr marL="639763" lvl="1" indent="-182563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/>
                <a:t>IP-based networks</a:t>
              </a:r>
            </a:p>
            <a:p>
              <a:pPr marL="639763" lvl="1" indent="-182563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/>
                <a:t>Cloud computing</a:t>
              </a:r>
            </a:p>
            <a:p>
              <a:pPr marL="639763" lvl="1" indent="-182563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/>
                <a:t>Consumer applications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12511A3-CB40-7221-9B11-8BE377D2FDB6}"/>
              </a:ext>
            </a:extLst>
          </p:cNvPr>
          <p:cNvGrpSpPr/>
          <p:nvPr/>
        </p:nvGrpSpPr>
        <p:grpSpPr>
          <a:xfrm>
            <a:off x="7962852" y="2704568"/>
            <a:ext cx="3974782" cy="2602154"/>
            <a:chOff x="7962852" y="2704568"/>
            <a:chExt cx="3974782" cy="2602154"/>
          </a:xfrm>
        </p:grpSpPr>
        <p:sp>
          <p:nvSpPr>
            <p:cNvPr id="17" name="Text 18">
              <a:extLst>
                <a:ext uri="{FF2B5EF4-FFF2-40B4-BE49-F238E27FC236}">
                  <a16:creationId xmlns:a16="http://schemas.microsoft.com/office/drawing/2014/main" id="{DCC17065-EE9E-F4CE-CD32-AE797C36CFDE}"/>
                </a:ext>
              </a:extLst>
            </p:cNvPr>
            <p:cNvSpPr/>
            <p:nvPr/>
          </p:nvSpPr>
          <p:spPr>
            <a:xfrm>
              <a:off x="9181443" y="2704568"/>
              <a:ext cx="1449115" cy="246221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sz="1600">
                  <a:solidFill>
                    <a:schemeClr val="bg2"/>
                  </a:solidFill>
                  <a:latin typeface="Arial" panose="020B0604020202020204" pitchFamily="34" charset="0"/>
                  <a:ea typeface="Noto Sans" pitchFamily="34" charset="-122"/>
                  <a:cs typeface="Arial" panose="020B0604020202020204" pitchFamily="34" charset="0"/>
                </a:rPr>
                <a:t>2010s - Present</a:t>
              </a:r>
              <a:endParaRPr lang="en-US"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60249C2-F16F-4F77-AD2C-38AC88B93D54}"/>
                </a:ext>
              </a:extLst>
            </p:cNvPr>
            <p:cNvGrpSpPr/>
            <p:nvPr/>
          </p:nvGrpSpPr>
          <p:grpSpPr>
            <a:xfrm>
              <a:off x="9525000" y="2980395"/>
              <a:ext cx="762000" cy="762000"/>
              <a:chOff x="9525000" y="2980395"/>
              <a:chExt cx="762000" cy="762000"/>
            </a:xfrm>
          </p:grpSpPr>
          <p:sp>
            <p:nvSpPr>
              <p:cNvPr id="18" name="Shape 19">
                <a:extLst>
                  <a:ext uri="{FF2B5EF4-FFF2-40B4-BE49-F238E27FC236}">
                    <a16:creationId xmlns:a16="http://schemas.microsoft.com/office/drawing/2014/main" id="{5CD41081-2891-2E35-23EA-80EDCF0F3707}"/>
                  </a:ext>
                </a:extLst>
              </p:cNvPr>
              <p:cNvSpPr/>
              <p:nvPr/>
            </p:nvSpPr>
            <p:spPr>
              <a:xfrm>
                <a:off x="9525000" y="2980395"/>
                <a:ext cx="762000" cy="762000"/>
              </a:xfrm>
              <a:prstGeom prst="ellipse">
                <a:avLst/>
              </a:prstGeom>
              <a:solidFill>
                <a:schemeClr val="bg2"/>
              </a:solidFill>
              <a:ln w="298">
                <a:solidFill>
                  <a:srgbClr val="3498DB"/>
                </a:solidFill>
                <a:prstDash val="solid"/>
              </a:ln>
            </p:spPr>
            <p:txBody>
              <a:bodyPr/>
              <a:lstStyle/>
              <a:p>
                <a:endParaRPr lang="en-IN" sz="2400"/>
              </a:p>
            </p:txBody>
          </p:sp>
          <p:pic>
            <p:nvPicPr>
              <p:cNvPr id="19" name="Image 9" descr="preencoded.png">
                <a:extLst>
                  <a:ext uri="{FF2B5EF4-FFF2-40B4-BE49-F238E27FC236}">
                    <a16:creationId xmlns:a16="http://schemas.microsoft.com/office/drawing/2014/main" id="{0FE47BD0-7E19-6EBE-59C6-9F7AE27796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biLevel thresh="25000"/>
              </a:blip>
              <a:stretch>
                <a:fillRect/>
              </a:stretch>
            </p:blipFill>
            <p:spPr>
              <a:xfrm>
                <a:off x="9745266" y="3218521"/>
                <a:ext cx="321469" cy="285751"/>
              </a:xfrm>
              <a:prstGeom prst="rect">
                <a:avLst/>
              </a:prstGeom>
            </p:spPr>
          </p:pic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84D9043-D0E1-51BA-4F5E-ABA78E24E486}"/>
                </a:ext>
              </a:extLst>
            </p:cNvPr>
            <p:cNvSpPr txBox="1"/>
            <p:nvPr/>
          </p:nvSpPr>
          <p:spPr>
            <a:xfrm>
              <a:off x="7962852" y="3860172"/>
              <a:ext cx="3974782" cy="14465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buNone/>
              </a:pPr>
              <a:r>
                <a:rPr lang="en-US" sz="1600" b="1">
                  <a:solidFill>
                    <a:schemeClr val="bg2"/>
                  </a:solidFill>
                </a:rPr>
                <a:t>Industrial IoT (IIoT)</a:t>
              </a:r>
            </a:p>
            <a:p>
              <a:pPr algn="ctr">
                <a:buNone/>
              </a:pPr>
              <a:endParaRPr lang="en-US" sz="1600" b="1">
                <a:solidFill>
                  <a:schemeClr val="bg2"/>
                </a:solidFill>
              </a:endParaRPr>
            </a:p>
            <a:p>
              <a:pPr marL="182563" indent="-182563">
                <a:buClr>
                  <a:schemeClr val="bg2"/>
                </a:buClr>
                <a:buFont typeface="Arial" panose="020B0604020202020204" pitchFamily="34" charset="0"/>
                <a:buChar char="•"/>
                <a:tabLst>
                  <a:tab pos="182563" algn="l"/>
                </a:tabLst>
              </a:pPr>
              <a:r>
                <a:rPr lang="en-US" sz="1400"/>
                <a:t>Enterprise-grade connectivity and intelligence</a:t>
              </a:r>
            </a:p>
            <a:p>
              <a:pPr marL="639763" lvl="1" indent="-182563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/>
                <a:t>Advanced analytics</a:t>
              </a:r>
            </a:p>
            <a:p>
              <a:pPr marL="639763" lvl="1" indent="-182563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/>
                <a:t>Edge computing</a:t>
              </a:r>
            </a:p>
            <a:p>
              <a:pPr marL="639763" lvl="1" indent="-182563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/>
                <a:t>Industrial transformation</a:t>
              </a:r>
            </a:p>
          </p:txBody>
        </p:sp>
      </p:grpSp>
      <p:sp>
        <p:nvSpPr>
          <p:cNvPr id="32" name="Date Placeholder 5">
            <a:extLst>
              <a:ext uri="{FF2B5EF4-FFF2-40B4-BE49-F238E27FC236}">
                <a16:creationId xmlns:a16="http://schemas.microsoft.com/office/drawing/2014/main" id="{C207F9D4-2145-3ADB-603D-D8E60B077D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33" name="Footer Placeholder 6">
            <a:extLst>
              <a:ext uri="{FF2B5EF4-FFF2-40B4-BE49-F238E27FC236}">
                <a16:creationId xmlns:a16="http://schemas.microsoft.com/office/drawing/2014/main" id="{D0BFF815-EBD9-2FAB-3881-437ABEFCED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34" name="Slide Number Placeholder 7">
            <a:extLst>
              <a:ext uri="{FF2B5EF4-FFF2-40B4-BE49-F238E27FC236}">
                <a16:creationId xmlns:a16="http://schemas.microsoft.com/office/drawing/2014/main" id="{E424E1C1-9435-B4C7-3B45-6D0F77D02E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35" name="TextBox 34"/>
          <p:cNvSpPr txBox="1"/>
          <p:nvPr/>
        </p:nvSpPr>
        <p:spPr>
          <a:xfrm>
            <a:off x="91440" y="914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t>🔊</a:t>
            </a:r>
          </a:p>
        </p:txBody>
      </p:sp>
    </p:spTree>
    <p:extLst>
      <p:ext uri="{BB962C8B-B14F-4D97-AF65-F5344CB8AC3E}">
        <p14:creationId xmlns:p14="http://schemas.microsoft.com/office/powerpoint/2010/main" val="26663387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13">
            <a:extLst>
              <a:ext uri="{FF2B5EF4-FFF2-40B4-BE49-F238E27FC236}">
                <a16:creationId xmlns:a16="http://schemas.microsoft.com/office/drawing/2014/main" id="{30C18189-B50E-EE48-BBBA-5C1D59D58805}"/>
              </a:ext>
            </a:extLst>
          </p:cNvPr>
          <p:cNvSpPr/>
          <p:nvPr/>
        </p:nvSpPr>
        <p:spPr>
          <a:xfrm>
            <a:off x="8096251" y="2271578"/>
            <a:ext cx="3619500" cy="1904182"/>
          </a:xfrm>
          <a:prstGeom prst="rect">
            <a:avLst/>
          </a:prstGeom>
          <a:solidFill>
            <a:srgbClr val="F8F9FA"/>
          </a:solidFill>
          <a:ln>
            <a:solidFill>
              <a:schemeClr val="bg2"/>
            </a:solidFill>
          </a:ln>
        </p:spPr>
        <p:txBody>
          <a:bodyPr/>
          <a:lstStyle/>
          <a:p>
            <a:endParaRPr lang="en-IN" sz="240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8ABDA65-7448-9F65-1F16-B8ED0AFCE379}"/>
              </a:ext>
            </a:extLst>
          </p:cNvPr>
          <p:cNvSpPr/>
          <p:nvPr/>
        </p:nvSpPr>
        <p:spPr>
          <a:xfrm>
            <a:off x="9694227" y="2364737"/>
            <a:ext cx="423545" cy="43876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72000" tIns="72000" rIns="72000" bIns="72000" rtlCol="0" anchor="t" anchorCtr="0">
            <a:noAutofit/>
          </a:bodyPr>
          <a:lstStyle/>
          <a:p>
            <a:pPr marL="171450" indent="-171450" algn="l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IN" sz="1200"/>
          </a:p>
        </p:txBody>
      </p:sp>
      <p:sp>
        <p:nvSpPr>
          <p:cNvPr id="14" name="Shape 8">
            <a:extLst>
              <a:ext uri="{FF2B5EF4-FFF2-40B4-BE49-F238E27FC236}">
                <a16:creationId xmlns:a16="http://schemas.microsoft.com/office/drawing/2014/main" id="{C0CC5499-3C48-5CA3-F2F5-161F5DA747CB}"/>
              </a:ext>
            </a:extLst>
          </p:cNvPr>
          <p:cNvSpPr/>
          <p:nvPr/>
        </p:nvSpPr>
        <p:spPr>
          <a:xfrm>
            <a:off x="4286251" y="2271578"/>
            <a:ext cx="3619500" cy="1904182"/>
          </a:xfrm>
          <a:prstGeom prst="rect">
            <a:avLst/>
          </a:prstGeom>
          <a:solidFill>
            <a:srgbClr val="F8F9FA"/>
          </a:solidFill>
          <a:ln>
            <a:solidFill>
              <a:schemeClr val="bg2"/>
            </a:solidFill>
          </a:ln>
        </p:spPr>
        <p:txBody>
          <a:bodyPr/>
          <a:lstStyle/>
          <a:p>
            <a:endParaRPr lang="en-IN" sz="240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ACFE537-13D9-B933-F757-A37637EB206D}"/>
              </a:ext>
            </a:extLst>
          </p:cNvPr>
          <p:cNvSpPr/>
          <p:nvPr/>
        </p:nvSpPr>
        <p:spPr>
          <a:xfrm>
            <a:off x="5884191" y="2368565"/>
            <a:ext cx="423545" cy="43876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72000" tIns="72000" rIns="72000" bIns="72000" rtlCol="0" anchor="t" anchorCtr="0">
            <a:noAutofit/>
          </a:bodyPr>
          <a:lstStyle/>
          <a:p>
            <a:pPr marL="171450" indent="-171450" algn="l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IN" sz="1200"/>
          </a:p>
        </p:txBody>
      </p:sp>
      <p:sp>
        <p:nvSpPr>
          <p:cNvPr id="7" name="Shape 3">
            <a:extLst>
              <a:ext uri="{FF2B5EF4-FFF2-40B4-BE49-F238E27FC236}">
                <a16:creationId xmlns:a16="http://schemas.microsoft.com/office/drawing/2014/main" id="{D058C1DD-C114-1C60-DBCE-C436A4151805}"/>
              </a:ext>
            </a:extLst>
          </p:cNvPr>
          <p:cNvSpPr/>
          <p:nvPr/>
        </p:nvSpPr>
        <p:spPr>
          <a:xfrm>
            <a:off x="476251" y="2271578"/>
            <a:ext cx="3619500" cy="1904182"/>
          </a:xfrm>
          <a:prstGeom prst="rect">
            <a:avLst/>
          </a:prstGeom>
          <a:solidFill>
            <a:srgbClr val="F8F9FA"/>
          </a:solidFill>
          <a:ln>
            <a:solidFill>
              <a:schemeClr val="bg2"/>
            </a:solidFill>
          </a:ln>
        </p:spPr>
        <p:txBody>
          <a:bodyPr/>
          <a:lstStyle/>
          <a:p>
            <a:endParaRPr lang="en-IN" sz="2400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F6933985-3D29-8AD2-5B29-E8ED846A5C7B}"/>
              </a:ext>
            </a:extLst>
          </p:cNvPr>
          <p:cNvSpPr/>
          <p:nvPr/>
        </p:nvSpPr>
        <p:spPr>
          <a:xfrm>
            <a:off x="2074226" y="2384323"/>
            <a:ext cx="423545" cy="43876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72000" tIns="72000" rIns="72000" bIns="72000" rtlCol="0" anchor="t" anchorCtr="0">
            <a:noAutofit/>
          </a:bodyPr>
          <a:lstStyle/>
          <a:p>
            <a:pPr marL="171450" indent="-171450" algn="l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IN" sz="12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5551C8-5098-7E2C-A6AC-D65EA510CD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How IIoT Works - Workflow</a:t>
            </a:r>
            <a:br>
              <a:rPr lang="en-US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b="0"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The Industrial IoT Process Flow</a:t>
            </a:r>
            <a:br>
              <a:rPr lang="en-US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2">
            <a:extLst>
              <a:ext uri="{FF2B5EF4-FFF2-40B4-BE49-F238E27FC236}">
                <a16:creationId xmlns:a16="http://schemas.microsoft.com/office/drawing/2014/main" id="{1E748BEB-1476-82F9-753C-4728C19FE809}"/>
              </a:ext>
            </a:extLst>
          </p:cNvPr>
          <p:cNvSpPr/>
          <p:nvPr/>
        </p:nvSpPr>
        <p:spPr>
          <a:xfrm>
            <a:off x="330200" y="1458481"/>
            <a:ext cx="11430000" cy="492443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spAutoFit/>
          </a:bodyPr>
          <a:lstStyle/>
          <a:p>
            <a:pPr marL="182563" indent="-182563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333333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The IIoT workflow represents a continuous cycle of data collection, transmission, analysis, and action that enables smart manufacturing and industrial optimization.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5">
            <a:extLst>
              <a:ext uri="{FF2B5EF4-FFF2-40B4-BE49-F238E27FC236}">
                <a16:creationId xmlns:a16="http://schemas.microsoft.com/office/drawing/2014/main" id="{C4EA4F7E-E932-E756-17A6-B7E414F1F13E}"/>
              </a:ext>
            </a:extLst>
          </p:cNvPr>
          <p:cNvSpPr/>
          <p:nvPr/>
        </p:nvSpPr>
        <p:spPr>
          <a:xfrm>
            <a:off x="580189" y="2373258"/>
            <a:ext cx="173125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Noto Sans" pitchFamily="34" charset="0"/>
                <a:ea typeface="Noto Sans" pitchFamily="34" charset="-122"/>
                <a:cs typeface="Noto Sans" pitchFamily="34" charset="-120"/>
              </a:rPr>
              <a:t>1.</a:t>
            </a:r>
            <a:endParaRPr lang="en-US" sz="1600">
              <a:solidFill>
                <a:schemeClr val="bg2"/>
              </a:solidFill>
            </a:endParaRPr>
          </a:p>
        </p:txBody>
      </p:sp>
      <p:pic>
        <p:nvPicPr>
          <p:cNvPr id="10" name="Image 1" descr="preencoded.png">
            <a:extLst>
              <a:ext uri="{FF2B5EF4-FFF2-40B4-BE49-F238E27FC236}">
                <a16:creationId xmlns:a16="http://schemas.microsoft.com/office/drawing/2014/main" id="{B9C40431-88C2-EC28-B021-1A94286E1D52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50000"/>
          </a:blip>
          <a:stretch>
            <a:fillRect/>
          </a:stretch>
        </p:blipFill>
        <p:spPr>
          <a:xfrm>
            <a:off x="2143126" y="2456016"/>
            <a:ext cx="285751" cy="285751"/>
          </a:xfrm>
          <a:prstGeom prst="rect">
            <a:avLst/>
          </a:prstGeom>
        </p:spPr>
      </p:pic>
      <p:sp>
        <p:nvSpPr>
          <p:cNvPr id="11" name="Text 6">
            <a:extLst>
              <a:ext uri="{FF2B5EF4-FFF2-40B4-BE49-F238E27FC236}">
                <a16:creationId xmlns:a16="http://schemas.microsoft.com/office/drawing/2014/main" id="{4649A011-72C9-F832-5801-F1F0C32A11B5}"/>
              </a:ext>
            </a:extLst>
          </p:cNvPr>
          <p:cNvSpPr/>
          <p:nvPr/>
        </p:nvSpPr>
        <p:spPr>
          <a:xfrm>
            <a:off x="1539000" y="2904407"/>
            <a:ext cx="1493999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Data Collection</a:t>
            </a:r>
            <a:endParaRPr lang="en-US" sz="16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7">
            <a:extLst>
              <a:ext uri="{FF2B5EF4-FFF2-40B4-BE49-F238E27FC236}">
                <a16:creationId xmlns:a16="http://schemas.microsoft.com/office/drawing/2014/main" id="{B3AA8FBD-642C-27E1-5066-8B10191AB8BE}"/>
              </a:ext>
            </a:extLst>
          </p:cNvPr>
          <p:cNvSpPr/>
          <p:nvPr/>
        </p:nvSpPr>
        <p:spPr>
          <a:xfrm>
            <a:off x="666751" y="3262495"/>
            <a:ext cx="3238500" cy="646331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>
                <a:solidFill>
                  <a:srgbClr val="333333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Sensors gather real-time data from industrial equipment, production lines, and environmental conditions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0">
            <a:extLst>
              <a:ext uri="{FF2B5EF4-FFF2-40B4-BE49-F238E27FC236}">
                <a16:creationId xmlns:a16="http://schemas.microsoft.com/office/drawing/2014/main" id="{27F71587-1AD4-57B4-6FD6-B8DFD976A1E0}"/>
              </a:ext>
            </a:extLst>
          </p:cNvPr>
          <p:cNvSpPr/>
          <p:nvPr/>
        </p:nvSpPr>
        <p:spPr>
          <a:xfrm>
            <a:off x="6095967" y="2545241"/>
            <a:ext cx="65" cy="214674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endParaRPr lang="en-US" sz="1395"/>
          </a:p>
        </p:txBody>
      </p:sp>
      <p:pic>
        <p:nvPicPr>
          <p:cNvPr id="17" name="Image 4" descr="preencoded.png">
            <a:extLst>
              <a:ext uri="{FF2B5EF4-FFF2-40B4-BE49-F238E27FC236}">
                <a16:creationId xmlns:a16="http://schemas.microsoft.com/office/drawing/2014/main" id="{8B6B124F-F150-8FFA-A430-BA05A5048D35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25000"/>
          </a:blip>
          <a:stretch>
            <a:fillRect/>
          </a:stretch>
        </p:blipFill>
        <p:spPr>
          <a:xfrm>
            <a:off x="5953835" y="2459153"/>
            <a:ext cx="284263" cy="227411"/>
          </a:xfrm>
          <a:prstGeom prst="rect">
            <a:avLst/>
          </a:prstGeom>
        </p:spPr>
      </p:pic>
      <p:sp>
        <p:nvSpPr>
          <p:cNvPr id="18" name="Text 11">
            <a:extLst>
              <a:ext uri="{FF2B5EF4-FFF2-40B4-BE49-F238E27FC236}">
                <a16:creationId xmlns:a16="http://schemas.microsoft.com/office/drawing/2014/main" id="{86F1B596-0791-A1C9-F33C-FA0BAFBC9AB4}"/>
              </a:ext>
            </a:extLst>
          </p:cNvPr>
          <p:cNvSpPr/>
          <p:nvPr/>
        </p:nvSpPr>
        <p:spPr>
          <a:xfrm>
            <a:off x="5183956" y="2904407"/>
            <a:ext cx="1824089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Data Transmission</a:t>
            </a:r>
            <a:endParaRPr lang="en-US" sz="16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12">
            <a:extLst>
              <a:ext uri="{FF2B5EF4-FFF2-40B4-BE49-F238E27FC236}">
                <a16:creationId xmlns:a16="http://schemas.microsoft.com/office/drawing/2014/main" id="{6C319F67-432B-07C5-92C4-9BCFFADB2242}"/>
              </a:ext>
            </a:extLst>
          </p:cNvPr>
          <p:cNvSpPr/>
          <p:nvPr/>
        </p:nvSpPr>
        <p:spPr>
          <a:xfrm>
            <a:off x="4476751" y="3262495"/>
            <a:ext cx="3238500" cy="646331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>
                <a:solidFill>
                  <a:srgbClr val="333333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Information is sent via secure networks (WiFi, 5G, Ethernet) to edge devices and cloud platforms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Image 7" descr="preencoded.png">
            <a:extLst>
              <a:ext uri="{FF2B5EF4-FFF2-40B4-BE49-F238E27FC236}">
                <a16:creationId xmlns:a16="http://schemas.microsoft.com/office/drawing/2014/main" id="{EF399F39-9E14-5D5C-676A-71D219AE17FC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25000"/>
          </a:blip>
          <a:stretch>
            <a:fillRect/>
          </a:stretch>
        </p:blipFill>
        <p:spPr>
          <a:xfrm>
            <a:off x="9811465" y="2474154"/>
            <a:ext cx="190303" cy="217490"/>
          </a:xfrm>
          <a:prstGeom prst="rect">
            <a:avLst/>
          </a:prstGeom>
        </p:spPr>
      </p:pic>
      <p:sp>
        <p:nvSpPr>
          <p:cNvPr id="25" name="Text 16">
            <a:extLst>
              <a:ext uri="{FF2B5EF4-FFF2-40B4-BE49-F238E27FC236}">
                <a16:creationId xmlns:a16="http://schemas.microsoft.com/office/drawing/2014/main" id="{C57844E5-A663-CF55-7A01-71C46FE7278E}"/>
              </a:ext>
            </a:extLst>
          </p:cNvPr>
          <p:cNvSpPr/>
          <p:nvPr/>
        </p:nvSpPr>
        <p:spPr>
          <a:xfrm>
            <a:off x="9081256" y="2904407"/>
            <a:ext cx="1649491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Data Processing</a:t>
            </a:r>
            <a:endParaRPr lang="en-US" sz="16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 17">
            <a:extLst>
              <a:ext uri="{FF2B5EF4-FFF2-40B4-BE49-F238E27FC236}">
                <a16:creationId xmlns:a16="http://schemas.microsoft.com/office/drawing/2014/main" id="{5C2F3017-E233-922D-B770-4E95FB7FD683}"/>
              </a:ext>
            </a:extLst>
          </p:cNvPr>
          <p:cNvSpPr/>
          <p:nvPr/>
        </p:nvSpPr>
        <p:spPr>
          <a:xfrm>
            <a:off x="8286751" y="3262495"/>
            <a:ext cx="3238500" cy="646331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>
                <a:solidFill>
                  <a:srgbClr val="333333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Analytics engines process data to identify patterns, anomalies, and actionable insights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 5">
            <a:extLst>
              <a:ext uri="{FF2B5EF4-FFF2-40B4-BE49-F238E27FC236}">
                <a16:creationId xmlns:a16="http://schemas.microsoft.com/office/drawing/2014/main" id="{C7263614-4DBF-B1B4-45A5-05D69B4154B6}"/>
              </a:ext>
            </a:extLst>
          </p:cNvPr>
          <p:cNvSpPr/>
          <p:nvPr/>
        </p:nvSpPr>
        <p:spPr>
          <a:xfrm>
            <a:off x="4390153" y="2364737"/>
            <a:ext cx="173125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Noto Sans" pitchFamily="34" charset="0"/>
                <a:ea typeface="Noto Sans" pitchFamily="34" charset="-122"/>
                <a:cs typeface="Noto Sans" pitchFamily="34" charset="-120"/>
              </a:rPr>
              <a:t>2.</a:t>
            </a:r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32" name="Text 5">
            <a:extLst>
              <a:ext uri="{FF2B5EF4-FFF2-40B4-BE49-F238E27FC236}">
                <a16:creationId xmlns:a16="http://schemas.microsoft.com/office/drawing/2014/main" id="{E372EE5E-4402-9B22-13BF-6E22E81E7788}"/>
              </a:ext>
            </a:extLst>
          </p:cNvPr>
          <p:cNvSpPr/>
          <p:nvPr/>
        </p:nvSpPr>
        <p:spPr>
          <a:xfrm>
            <a:off x="8200188" y="2364737"/>
            <a:ext cx="173124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Noto Sans" pitchFamily="34" charset="0"/>
                <a:ea typeface="Noto Sans" pitchFamily="34" charset="-122"/>
                <a:cs typeface="Noto Sans" pitchFamily="34" charset="-120"/>
              </a:rPr>
              <a:t>3.</a:t>
            </a:r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58" name="Shape 18">
            <a:extLst>
              <a:ext uri="{FF2B5EF4-FFF2-40B4-BE49-F238E27FC236}">
                <a16:creationId xmlns:a16="http://schemas.microsoft.com/office/drawing/2014/main" id="{A58AD289-FFDB-B0F3-11C9-D6092A4640AE}"/>
              </a:ext>
            </a:extLst>
          </p:cNvPr>
          <p:cNvSpPr/>
          <p:nvPr/>
        </p:nvSpPr>
        <p:spPr>
          <a:xfrm>
            <a:off x="476217" y="4382536"/>
            <a:ext cx="3619500" cy="1904183"/>
          </a:xfrm>
          <a:prstGeom prst="rect">
            <a:avLst/>
          </a:prstGeom>
          <a:solidFill>
            <a:srgbClr val="F8F9FA"/>
          </a:solidFill>
          <a:ln>
            <a:solidFill>
              <a:schemeClr val="bg2"/>
            </a:solidFill>
          </a:ln>
        </p:spPr>
        <p:txBody>
          <a:bodyPr/>
          <a:lstStyle/>
          <a:p>
            <a:endParaRPr lang="en-IN" sz="2400"/>
          </a:p>
        </p:txBody>
      </p:sp>
      <p:sp>
        <p:nvSpPr>
          <p:cNvPr id="62" name="Text 21">
            <a:extLst>
              <a:ext uri="{FF2B5EF4-FFF2-40B4-BE49-F238E27FC236}">
                <a16:creationId xmlns:a16="http://schemas.microsoft.com/office/drawing/2014/main" id="{F7F1BBC9-83E7-18BD-9BE9-C3532C193382}"/>
              </a:ext>
            </a:extLst>
          </p:cNvPr>
          <p:cNvSpPr/>
          <p:nvPr/>
        </p:nvSpPr>
        <p:spPr>
          <a:xfrm>
            <a:off x="1157452" y="5094488"/>
            <a:ext cx="2257028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Continuous Monitoring</a:t>
            </a:r>
            <a:endParaRPr lang="en-US" sz="16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22">
            <a:extLst>
              <a:ext uri="{FF2B5EF4-FFF2-40B4-BE49-F238E27FC236}">
                <a16:creationId xmlns:a16="http://schemas.microsoft.com/office/drawing/2014/main" id="{D5CB055E-2D26-93E6-588C-75DCC79B71C8}"/>
              </a:ext>
            </a:extLst>
          </p:cNvPr>
          <p:cNvSpPr/>
          <p:nvPr/>
        </p:nvSpPr>
        <p:spPr>
          <a:xfrm>
            <a:off x="666717" y="5438504"/>
            <a:ext cx="3238500" cy="646331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>
                <a:solidFill>
                  <a:srgbClr val="333333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Ongoing surveillance and optimization to maintain peak performance and efficiency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Shape 23">
            <a:extLst>
              <a:ext uri="{FF2B5EF4-FFF2-40B4-BE49-F238E27FC236}">
                <a16:creationId xmlns:a16="http://schemas.microsoft.com/office/drawing/2014/main" id="{CF347112-6FEC-928A-D19A-D079CB98D6D8}"/>
              </a:ext>
            </a:extLst>
          </p:cNvPr>
          <p:cNvSpPr/>
          <p:nvPr/>
        </p:nvSpPr>
        <p:spPr>
          <a:xfrm>
            <a:off x="4286217" y="4382536"/>
            <a:ext cx="3619500" cy="1904183"/>
          </a:xfrm>
          <a:prstGeom prst="rect">
            <a:avLst/>
          </a:prstGeom>
          <a:solidFill>
            <a:srgbClr val="F8F9FA"/>
          </a:solidFill>
          <a:ln>
            <a:solidFill>
              <a:schemeClr val="bg2"/>
            </a:solidFill>
          </a:ln>
        </p:spPr>
        <p:txBody>
          <a:bodyPr/>
          <a:lstStyle/>
          <a:p>
            <a:endParaRPr lang="en-IN" sz="2400"/>
          </a:p>
        </p:txBody>
      </p:sp>
      <p:sp>
        <p:nvSpPr>
          <p:cNvPr id="69" name="Text 26">
            <a:extLst>
              <a:ext uri="{FF2B5EF4-FFF2-40B4-BE49-F238E27FC236}">
                <a16:creationId xmlns:a16="http://schemas.microsoft.com/office/drawing/2014/main" id="{2835BCD3-CFE0-22EC-BC03-13B685AE8E2A}"/>
              </a:ext>
            </a:extLst>
          </p:cNvPr>
          <p:cNvSpPr/>
          <p:nvPr/>
        </p:nvSpPr>
        <p:spPr>
          <a:xfrm>
            <a:off x="4989091" y="5094488"/>
            <a:ext cx="2213748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Action Implementation</a:t>
            </a:r>
            <a:endParaRPr lang="en-US" sz="16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Text 27">
            <a:extLst>
              <a:ext uri="{FF2B5EF4-FFF2-40B4-BE49-F238E27FC236}">
                <a16:creationId xmlns:a16="http://schemas.microsoft.com/office/drawing/2014/main" id="{D9FAE1F5-24E7-5616-A65C-687FCC9AD58E}"/>
              </a:ext>
            </a:extLst>
          </p:cNvPr>
          <p:cNvSpPr/>
          <p:nvPr/>
        </p:nvSpPr>
        <p:spPr>
          <a:xfrm>
            <a:off x="4476717" y="5438504"/>
            <a:ext cx="3238500" cy="646331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>
                <a:solidFill>
                  <a:srgbClr val="333333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Systems automatically adjust operations or alert operators to take necessary actions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Shape 28">
            <a:extLst>
              <a:ext uri="{FF2B5EF4-FFF2-40B4-BE49-F238E27FC236}">
                <a16:creationId xmlns:a16="http://schemas.microsoft.com/office/drawing/2014/main" id="{EDC59FD2-AFA4-13B5-BC7B-052F96BC2920}"/>
              </a:ext>
            </a:extLst>
          </p:cNvPr>
          <p:cNvSpPr/>
          <p:nvPr/>
        </p:nvSpPr>
        <p:spPr>
          <a:xfrm>
            <a:off x="8096217" y="4382536"/>
            <a:ext cx="3619500" cy="1904183"/>
          </a:xfrm>
          <a:prstGeom prst="rect">
            <a:avLst/>
          </a:prstGeom>
          <a:solidFill>
            <a:srgbClr val="F8F9FA"/>
          </a:solidFill>
          <a:ln>
            <a:solidFill>
              <a:schemeClr val="bg2"/>
            </a:solidFill>
          </a:ln>
        </p:spPr>
        <p:txBody>
          <a:bodyPr/>
          <a:lstStyle/>
          <a:p>
            <a:endParaRPr lang="en-IN" sz="2400"/>
          </a:p>
        </p:txBody>
      </p:sp>
      <p:sp>
        <p:nvSpPr>
          <p:cNvPr id="76" name="Text 31">
            <a:extLst>
              <a:ext uri="{FF2B5EF4-FFF2-40B4-BE49-F238E27FC236}">
                <a16:creationId xmlns:a16="http://schemas.microsoft.com/office/drawing/2014/main" id="{2C861FAB-8486-5BAD-AD3A-03EB72B37471}"/>
              </a:ext>
            </a:extLst>
          </p:cNvPr>
          <p:cNvSpPr/>
          <p:nvPr/>
        </p:nvSpPr>
        <p:spPr>
          <a:xfrm>
            <a:off x="9096450" y="5094488"/>
            <a:ext cx="1619034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Decision Making</a:t>
            </a:r>
            <a:endParaRPr lang="en-US" sz="16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Text 32">
            <a:extLst>
              <a:ext uri="{FF2B5EF4-FFF2-40B4-BE49-F238E27FC236}">
                <a16:creationId xmlns:a16="http://schemas.microsoft.com/office/drawing/2014/main" id="{EBBEA285-0CEE-6AF5-AD43-49F5532FE665}"/>
              </a:ext>
            </a:extLst>
          </p:cNvPr>
          <p:cNvSpPr/>
          <p:nvPr/>
        </p:nvSpPr>
        <p:spPr>
          <a:xfrm>
            <a:off x="8286717" y="5438504"/>
            <a:ext cx="3238500" cy="646331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>
                <a:solidFill>
                  <a:srgbClr val="333333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AI algorithms generate recommendations and automated responses based on analysis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 5">
            <a:extLst>
              <a:ext uri="{FF2B5EF4-FFF2-40B4-BE49-F238E27FC236}">
                <a16:creationId xmlns:a16="http://schemas.microsoft.com/office/drawing/2014/main" id="{D6356A47-E15D-90FF-E54C-532864E39DC1}"/>
              </a:ext>
            </a:extLst>
          </p:cNvPr>
          <p:cNvSpPr/>
          <p:nvPr/>
        </p:nvSpPr>
        <p:spPr>
          <a:xfrm>
            <a:off x="580154" y="4455765"/>
            <a:ext cx="173125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Noto Sans" pitchFamily="34" charset="0"/>
                <a:ea typeface="Noto Sans" pitchFamily="34" charset="-122"/>
                <a:cs typeface="Noto Sans" pitchFamily="34" charset="-120"/>
              </a:rPr>
              <a:t>6.</a:t>
            </a:r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79" name="Text 5">
            <a:extLst>
              <a:ext uri="{FF2B5EF4-FFF2-40B4-BE49-F238E27FC236}">
                <a16:creationId xmlns:a16="http://schemas.microsoft.com/office/drawing/2014/main" id="{6235CFB2-1F15-81D3-1F5F-144CC161CB69}"/>
              </a:ext>
            </a:extLst>
          </p:cNvPr>
          <p:cNvSpPr/>
          <p:nvPr/>
        </p:nvSpPr>
        <p:spPr>
          <a:xfrm>
            <a:off x="4390152" y="4455765"/>
            <a:ext cx="173124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Noto Sans" pitchFamily="34" charset="0"/>
                <a:ea typeface="Noto Sans" pitchFamily="34" charset="-122"/>
                <a:cs typeface="Noto Sans" pitchFamily="34" charset="-120"/>
              </a:rPr>
              <a:t>5.</a:t>
            </a:r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80" name="Text 5">
            <a:extLst>
              <a:ext uri="{FF2B5EF4-FFF2-40B4-BE49-F238E27FC236}">
                <a16:creationId xmlns:a16="http://schemas.microsoft.com/office/drawing/2014/main" id="{1E0FE1C2-B6CC-BE26-8F24-FBB36D8CB300}"/>
              </a:ext>
            </a:extLst>
          </p:cNvPr>
          <p:cNvSpPr/>
          <p:nvPr/>
        </p:nvSpPr>
        <p:spPr>
          <a:xfrm>
            <a:off x="8200155" y="4455765"/>
            <a:ext cx="173125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Noto Sans" pitchFamily="34" charset="0"/>
                <a:ea typeface="Noto Sans" pitchFamily="34" charset="-122"/>
                <a:cs typeface="Noto Sans" pitchFamily="34" charset="-120"/>
              </a:rPr>
              <a:t>4.</a:t>
            </a:r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A31B1F67-1617-C7CD-8BAF-F42BB414C794}"/>
              </a:ext>
            </a:extLst>
          </p:cNvPr>
          <p:cNvSpPr/>
          <p:nvPr/>
        </p:nvSpPr>
        <p:spPr>
          <a:xfrm>
            <a:off x="9694227" y="4497413"/>
            <a:ext cx="423545" cy="43876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72000" tIns="72000" rIns="72000" bIns="72000" rtlCol="0" anchor="t" anchorCtr="0">
            <a:noAutofit/>
          </a:bodyPr>
          <a:lstStyle/>
          <a:p>
            <a:pPr marL="171450" indent="-171450" algn="l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IN" sz="1200"/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2E905F20-9990-D821-3726-74D45B2D571D}"/>
              </a:ext>
            </a:extLst>
          </p:cNvPr>
          <p:cNvSpPr/>
          <p:nvPr/>
        </p:nvSpPr>
        <p:spPr>
          <a:xfrm>
            <a:off x="5884191" y="4497413"/>
            <a:ext cx="423545" cy="43876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72000" tIns="72000" rIns="72000" bIns="72000" rtlCol="0" anchor="t" anchorCtr="0">
            <a:noAutofit/>
          </a:bodyPr>
          <a:lstStyle/>
          <a:p>
            <a:pPr marL="171450" indent="-171450" algn="l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IN" sz="1200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419AF9ED-4DB5-D481-914D-D0C3AC5B000C}"/>
              </a:ext>
            </a:extLst>
          </p:cNvPr>
          <p:cNvSpPr/>
          <p:nvPr/>
        </p:nvSpPr>
        <p:spPr>
          <a:xfrm>
            <a:off x="2074226" y="4497413"/>
            <a:ext cx="423545" cy="43876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72000" tIns="72000" rIns="72000" bIns="72000" rtlCol="0" anchor="t" anchorCtr="0">
            <a:noAutofit/>
          </a:bodyPr>
          <a:lstStyle/>
          <a:p>
            <a:pPr marL="171450" indent="-171450" algn="l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IN" sz="1200"/>
          </a:p>
        </p:txBody>
      </p:sp>
      <p:pic>
        <p:nvPicPr>
          <p:cNvPr id="61" name="Image 9" descr="preencoded.png">
            <a:extLst>
              <a:ext uri="{FF2B5EF4-FFF2-40B4-BE49-F238E27FC236}">
                <a16:creationId xmlns:a16="http://schemas.microsoft.com/office/drawing/2014/main" id="{A17EA1EF-CB8F-1360-C6B8-709CA352D3AF}"/>
              </a:ext>
            </a:extLst>
          </p:cNvPr>
          <p:cNvPicPr>
            <a:picLocks noChangeAspect="1"/>
          </p:cNvPicPr>
          <p:nvPr/>
        </p:nvPicPr>
        <p:blipFill>
          <a:blip r:embed="rId5">
            <a:biLevel thresh="50000"/>
          </a:blip>
          <a:stretch>
            <a:fillRect/>
          </a:stretch>
        </p:blipFill>
        <p:spPr>
          <a:xfrm>
            <a:off x="2165953" y="4600043"/>
            <a:ext cx="228600" cy="228600"/>
          </a:xfrm>
          <a:prstGeom prst="rect">
            <a:avLst/>
          </a:prstGeom>
        </p:spPr>
      </p:pic>
      <p:pic>
        <p:nvPicPr>
          <p:cNvPr id="68" name="Image 11" descr="preencoded.png">
            <a:extLst>
              <a:ext uri="{FF2B5EF4-FFF2-40B4-BE49-F238E27FC236}">
                <a16:creationId xmlns:a16="http://schemas.microsoft.com/office/drawing/2014/main" id="{E8810A3B-4537-F0F6-FD7C-C70BB1717231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50000"/>
          </a:blip>
          <a:stretch>
            <a:fillRect/>
          </a:stretch>
        </p:blipFill>
        <p:spPr>
          <a:xfrm>
            <a:off x="5935604" y="4594672"/>
            <a:ext cx="320725" cy="256581"/>
          </a:xfrm>
          <a:prstGeom prst="rect">
            <a:avLst/>
          </a:prstGeom>
        </p:spPr>
      </p:pic>
      <p:pic>
        <p:nvPicPr>
          <p:cNvPr id="75" name="Image 13" descr="preencoded.png">
            <a:extLst>
              <a:ext uri="{FF2B5EF4-FFF2-40B4-BE49-F238E27FC236}">
                <a16:creationId xmlns:a16="http://schemas.microsoft.com/office/drawing/2014/main" id="{4A683B0F-C8B0-6854-B377-865B3329549C}"/>
              </a:ext>
            </a:extLst>
          </p:cNvPr>
          <p:cNvPicPr>
            <a:picLocks noChangeAspect="1"/>
          </p:cNvPicPr>
          <p:nvPr/>
        </p:nvPicPr>
        <p:blipFill>
          <a:blip r:embed="rId7">
            <a:biLevel thresh="50000"/>
          </a:blip>
          <a:stretch>
            <a:fillRect/>
          </a:stretch>
        </p:blipFill>
        <p:spPr>
          <a:xfrm>
            <a:off x="9787372" y="4594224"/>
            <a:ext cx="238676" cy="238676"/>
          </a:xfrm>
          <a:prstGeom prst="rect">
            <a:avLst/>
          </a:prstGeom>
        </p:spPr>
      </p:pic>
      <p:sp>
        <p:nvSpPr>
          <p:cNvPr id="84" name="Date Placeholder 5">
            <a:extLst>
              <a:ext uri="{FF2B5EF4-FFF2-40B4-BE49-F238E27FC236}">
                <a16:creationId xmlns:a16="http://schemas.microsoft.com/office/drawing/2014/main" id="{AA173544-F498-91DC-7EE7-9D9742894C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85" name="Footer Placeholder 6">
            <a:extLst>
              <a:ext uri="{FF2B5EF4-FFF2-40B4-BE49-F238E27FC236}">
                <a16:creationId xmlns:a16="http://schemas.microsoft.com/office/drawing/2014/main" id="{4A31E092-EABF-67B0-EF4C-0D7E7B0DD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86" name="Slide Number Placeholder 7">
            <a:extLst>
              <a:ext uri="{FF2B5EF4-FFF2-40B4-BE49-F238E27FC236}">
                <a16:creationId xmlns:a16="http://schemas.microsoft.com/office/drawing/2014/main" id="{5567B4E0-4B3A-C724-E813-E30B41786E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14</a:t>
            </a:fld>
            <a:endParaRPr lang="de-DE"/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FE21828C-FC72-2EEB-BDD1-63370558DAC8}"/>
              </a:ext>
            </a:extLst>
          </p:cNvPr>
          <p:cNvCxnSpPr>
            <a:cxnSpLocks/>
            <a:stCxn id="7" idx="3"/>
            <a:endCxn id="14" idx="1"/>
          </p:cNvCxnSpPr>
          <p:nvPr/>
        </p:nvCxnSpPr>
        <p:spPr>
          <a:xfrm>
            <a:off x="4095751" y="3223669"/>
            <a:ext cx="190500" cy="0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994E73E9-D6FF-BB67-7E9A-9F0A6AB47F5D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>
            <a:off x="7905751" y="3223669"/>
            <a:ext cx="190500" cy="0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3DC80E33-0803-653D-75F9-C1DB47292826}"/>
              </a:ext>
            </a:extLst>
          </p:cNvPr>
          <p:cNvCxnSpPr>
            <a:cxnSpLocks/>
            <a:stCxn id="21" idx="2"/>
            <a:endCxn id="72" idx="0"/>
          </p:cNvCxnSpPr>
          <p:nvPr/>
        </p:nvCxnSpPr>
        <p:spPr>
          <a:xfrm flipH="1">
            <a:off x="9905967" y="4175760"/>
            <a:ext cx="34" cy="206776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A51319DC-A213-82CB-B4DE-586EF1E7732C}"/>
              </a:ext>
            </a:extLst>
          </p:cNvPr>
          <p:cNvCxnSpPr>
            <a:cxnSpLocks/>
            <a:stCxn id="72" idx="1"/>
            <a:endCxn id="65" idx="3"/>
          </p:cNvCxnSpPr>
          <p:nvPr/>
        </p:nvCxnSpPr>
        <p:spPr>
          <a:xfrm flipH="1">
            <a:off x="7905717" y="5334628"/>
            <a:ext cx="190500" cy="0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08EAB16A-F1FD-54E1-76F1-5D2B7023345D}"/>
              </a:ext>
            </a:extLst>
          </p:cNvPr>
          <p:cNvCxnSpPr>
            <a:cxnSpLocks/>
            <a:stCxn id="65" idx="1"/>
            <a:endCxn id="58" idx="3"/>
          </p:cNvCxnSpPr>
          <p:nvPr/>
        </p:nvCxnSpPr>
        <p:spPr>
          <a:xfrm flipH="1">
            <a:off x="4095717" y="5334628"/>
            <a:ext cx="190500" cy="0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TextBox 145"/>
          <p:cNvSpPr txBox="1"/>
          <p:nvPr/>
        </p:nvSpPr>
        <p:spPr>
          <a:xfrm>
            <a:off x="91440" y="914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t>🔊</a:t>
            </a:r>
          </a:p>
        </p:txBody>
      </p:sp>
    </p:spTree>
    <p:extLst>
      <p:ext uri="{BB962C8B-B14F-4D97-AF65-F5344CB8AC3E}">
        <p14:creationId xmlns:p14="http://schemas.microsoft.com/office/powerpoint/2010/main" val="17195278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6" fill="hold">
                      <p:stCondLst>
                        <p:cond delay="indefinite"/>
                      </p:stCondLst>
                      <p:childTnLst>
                        <p:par>
                          <p:cTn id="127" fill="hold">
                            <p:stCondLst>
                              <p:cond delay="0"/>
                            </p:stCondLst>
                            <p:childTnLst>
                              <p:par>
                                <p:cTn id="1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33" grpId="0" animBg="1"/>
      <p:bldP spid="14" grpId="0" animBg="1"/>
      <p:bldP spid="29" grpId="0" animBg="1"/>
      <p:bldP spid="7" grpId="0" animBg="1"/>
      <p:bldP spid="28" grpId="0" animBg="1"/>
      <p:bldP spid="6" grpId="0" animBg="1"/>
      <p:bldP spid="9" grpId="0" animBg="1"/>
      <p:bldP spid="11" grpId="0" animBg="1"/>
      <p:bldP spid="12" grpId="0" animBg="1"/>
      <p:bldP spid="16" grpId="0" animBg="1"/>
      <p:bldP spid="18" grpId="0" animBg="1"/>
      <p:bldP spid="19" grpId="0" animBg="1"/>
      <p:bldP spid="25" grpId="0" animBg="1"/>
      <p:bldP spid="26" grpId="0" animBg="1"/>
      <p:bldP spid="31" grpId="0" animBg="1"/>
      <p:bldP spid="32" grpId="0" animBg="1"/>
      <p:bldP spid="58" grpId="0" animBg="1"/>
      <p:bldP spid="62" grpId="0" animBg="1"/>
      <p:bldP spid="63" grpId="0" animBg="1"/>
      <p:bldP spid="65" grpId="0" animBg="1"/>
      <p:bldP spid="69" grpId="0" animBg="1"/>
      <p:bldP spid="70" grpId="0" animBg="1"/>
      <p:bldP spid="72" grpId="0" animBg="1"/>
      <p:bldP spid="76" grpId="0" animBg="1"/>
      <p:bldP spid="77" grpId="0" animBg="1"/>
      <p:bldP spid="78" grpId="0" animBg="1"/>
      <p:bldP spid="79" grpId="0" animBg="1"/>
      <p:bldP spid="80" grpId="0" animBg="1"/>
      <p:bldP spid="81" grpId="0" animBg="1"/>
      <p:bldP spid="82" grpId="0" animBg="1"/>
      <p:bldP spid="8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D01B199-A21C-5A9F-3181-FD90861D21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Key Differences between Consumer IoT and IIoT</a:t>
            </a:r>
            <a:br>
              <a:rPr lang="en-US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4F7A5909-BA31-2D19-49AC-976A2E75E13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67831337"/>
              </p:ext>
            </p:extLst>
          </p:nvPr>
        </p:nvGraphicFramePr>
        <p:xfrm>
          <a:off x="334962" y="1449388"/>
          <a:ext cx="11522076" cy="4787900"/>
        </p:xfrm>
        <a:graphic>
          <a:graphicData uri="http://schemas.openxmlformats.org/drawingml/2006/table">
            <a:tbl>
              <a:tblPr>
                <a:tableStyleId>{1E171933-4619-4E11-9A3F-F7608DF75F80}</a:tableStyleId>
              </a:tblPr>
              <a:tblGrid>
                <a:gridCol w="3840692">
                  <a:extLst>
                    <a:ext uri="{9D8B030D-6E8A-4147-A177-3AD203B41FA5}">
                      <a16:colId xmlns:a16="http://schemas.microsoft.com/office/drawing/2014/main" val="3764707815"/>
                    </a:ext>
                  </a:extLst>
                </a:gridCol>
                <a:gridCol w="3840692">
                  <a:extLst>
                    <a:ext uri="{9D8B030D-6E8A-4147-A177-3AD203B41FA5}">
                      <a16:colId xmlns:a16="http://schemas.microsoft.com/office/drawing/2014/main" val="1631465495"/>
                    </a:ext>
                  </a:extLst>
                </a:gridCol>
                <a:gridCol w="3840692">
                  <a:extLst>
                    <a:ext uri="{9D8B030D-6E8A-4147-A177-3AD203B41FA5}">
                      <a16:colId xmlns:a16="http://schemas.microsoft.com/office/drawing/2014/main" val="3641607964"/>
                    </a:ext>
                  </a:extLst>
                </a:gridCol>
              </a:tblGrid>
              <a:tr h="73744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>
                          <a:solidFill>
                            <a:schemeClr val="bg1"/>
                          </a:solidFill>
                        </a:rPr>
                        <a:t>Aspect</a:t>
                      </a:r>
                      <a:endParaRPr lang="en-IN" sz="18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>
                          <a:solidFill>
                            <a:schemeClr val="bg1"/>
                          </a:solidFill>
                        </a:rPr>
                        <a:t>Consumer IoT</a:t>
                      </a:r>
                      <a:endParaRPr lang="en-IN" sz="18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>
                          <a:solidFill>
                            <a:schemeClr val="bg1"/>
                          </a:solidFill>
                        </a:rPr>
                        <a:t>Industrial IoT (</a:t>
                      </a:r>
                      <a:r>
                        <a:rPr lang="en-IN" sz="1800" b="1" err="1">
                          <a:solidFill>
                            <a:schemeClr val="bg1"/>
                          </a:solidFill>
                        </a:rPr>
                        <a:t>IIoT</a:t>
                      </a:r>
                      <a:r>
                        <a:rPr lang="en-IN" sz="1800" b="1">
                          <a:solidFill>
                            <a:schemeClr val="bg1"/>
                          </a:solidFill>
                        </a:rPr>
                        <a:t>)</a:t>
                      </a:r>
                      <a:endParaRPr lang="en-IN" sz="18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027278"/>
                  </a:ext>
                </a:extLst>
              </a:tr>
              <a:tr h="78758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/>
                        <a:t>Purpose</a:t>
                      </a:r>
                      <a:endParaRPr lang="en-IN" sz="18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/>
                        <a:t>Convenience and entertain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/>
                        <a:t>Efficiency, productivity, safety, qual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52085689"/>
                  </a:ext>
                </a:extLst>
              </a:tr>
              <a:tr h="45005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/>
                        <a:t>Reliability</a:t>
                      </a:r>
                      <a:endParaRPr lang="en-IN" sz="18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/>
                        <a:t>Moderate requirem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/>
                        <a:t>Mission-critical, high precis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54920325"/>
                  </a:ext>
                </a:extLst>
              </a:tr>
              <a:tr h="45005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/>
                        <a:t>Security</a:t>
                      </a:r>
                      <a:endParaRPr lang="en-IN" sz="18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/>
                        <a:t>Basic standard prote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/>
                        <a:t>Enhanced, multi-layered secur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69076632"/>
                  </a:ext>
                </a:extLst>
              </a:tr>
              <a:tr h="78758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/>
                        <a:t>Scale</a:t>
                      </a:r>
                      <a:endParaRPr lang="en-IN" sz="18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Small scale, individual or home us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Enterprise-level, plant-wide or across supply chai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22645508"/>
                  </a:ext>
                </a:extLst>
              </a:tr>
              <a:tr h="78758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/>
                        <a:t>Data Volume</a:t>
                      </a:r>
                      <a:endParaRPr lang="en-IN" sz="18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/>
                        <a:t>Low to moderate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Large, continuous real-time data stream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82952407"/>
                  </a:ext>
                </a:extLst>
              </a:tr>
              <a:tr h="78758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/>
                        <a:t>Response Time</a:t>
                      </a:r>
                      <a:endParaRPr lang="en-IN" sz="18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/>
                        <a:t>Some delay accepta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Instant or near real-time response need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0594030"/>
                  </a:ext>
                </a:extLst>
              </a:tr>
            </a:tbl>
          </a:graphicData>
        </a:graphic>
      </p:graphicFrame>
      <p:sp>
        <p:nvSpPr>
          <p:cNvPr id="7" name="Date Placeholder 5">
            <a:extLst>
              <a:ext uri="{FF2B5EF4-FFF2-40B4-BE49-F238E27FC236}">
                <a16:creationId xmlns:a16="http://schemas.microsoft.com/office/drawing/2014/main" id="{F3406949-0A9C-A03B-D44B-587066BB3E0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C546A168-8938-4660-0930-410F22307A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11" name="Slide Number Placeholder 7">
            <a:extLst>
              <a:ext uri="{FF2B5EF4-FFF2-40B4-BE49-F238E27FC236}">
                <a16:creationId xmlns:a16="http://schemas.microsoft.com/office/drawing/2014/main" id="{ABCE64D6-31E3-C5B6-5D63-4EA4E31B4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12" name="TextBox 11"/>
          <p:cNvSpPr txBox="1"/>
          <p:nvPr/>
        </p:nvSpPr>
        <p:spPr>
          <a:xfrm>
            <a:off x="91440" y="914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t>🔊</a:t>
            </a:r>
          </a:p>
        </p:txBody>
      </p:sp>
    </p:spTree>
    <p:extLst>
      <p:ext uri="{BB962C8B-B14F-4D97-AF65-F5344CB8AC3E}">
        <p14:creationId xmlns:p14="http://schemas.microsoft.com/office/powerpoint/2010/main" val="17056828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DF3F2C-C989-95FB-7928-41A3F56B9F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>
                <a:latin typeface="Arial" panose="020B0604020202020204" pitchFamily="34" charset="0"/>
                <a:cs typeface="Arial" panose="020B0604020202020204" pitchFamily="34" charset="0"/>
              </a:rPr>
              <a:t>How IIOT drive Industry4.0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5509587-19D6-2055-B635-1533B1BCE4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4" y="1456381"/>
            <a:ext cx="11522072" cy="4656138"/>
          </a:xfrm>
        </p:spPr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IIoT connects machines, sensors, and devices on the factory floor.</a:t>
            </a:r>
          </a:p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Machines on the factory floor have sensors and IP-enabled devices that can communicate and exchange data with each other through a secure IIoT ecosystem.</a:t>
            </a:r>
          </a:p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The data helps companies see what’s happening, fix problems before they grow, and keep things running smoothly.</a:t>
            </a:r>
          </a:p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With IIoT, factories become smarter, more flexible, and more efficient — which is what Industry 4.0 is all about.</a:t>
            </a:r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9359326-5647-CD95-8074-568237CB62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9" t="27680" r="2747" b="34852"/>
          <a:stretch>
            <a:fillRect/>
          </a:stretch>
        </p:blipFill>
        <p:spPr>
          <a:xfrm>
            <a:off x="997334" y="3656133"/>
            <a:ext cx="10417918" cy="2323338"/>
          </a:xfrm>
          <a:prstGeom prst="rect">
            <a:avLst/>
          </a:prstGeom>
        </p:spPr>
      </p:pic>
      <p:sp>
        <p:nvSpPr>
          <p:cNvPr id="14" name="Date Placeholder 5">
            <a:extLst>
              <a:ext uri="{FF2B5EF4-FFF2-40B4-BE49-F238E27FC236}">
                <a16:creationId xmlns:a16="http://schemas.microsoft.com/office/drawing/2014/main" id="{9D2497B1-3570-5D4C-D12D-DB9631F4D00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15" name="Footer Placeholder 6">
            <a:extLst>
              <a:ext uri="{FF2B5EF4-FFF2-40B4-BE49-F238E27FC236}">
                <a16:creationId xmlns:a16="http://schemas.microsoft.com/office/drawing/2014/main" id="{1EB1FAC1-5B2E-E1F2-1D50-F0CAE1529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16" name="Slide Number Placeholder 7">
            <a:extLst>
              <a:ext uri="{FF2B5EF4-FFF2-40B4-BE49-F238E27FC236}">
                <a16:creationId xmlns:a16="http://schemas.microsoft.com/office/drawing/2014/main" id="{62EED650-A354-EF42-8967-E62BBE2DD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28" name="TextBox 27"/>
          <p:cNvSpPr txBox="1"/>
          <p:nvPr/>
        </p:nvSpPr>
        <p:spPr>
          <a:xfrm>
            <a:off x="91440" y="914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t>🔊</a:t>
            </a:r>
          </a:p>
        </p:txBody>
      </p:sp>
    </p:spTree>
    <p:extLst>
      <p:ext uri="{BB962C8B-B14F-4D97-AF65-F5344CB8AC3E}">
        <p14:creationId xmlns:p14="http://schemas.microsoft.com/office/powerpoint/2010/main" val="998028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44D0DE-E4AD-0EC0-894F-15CBE3CA67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92660C-9D54-12A8-3F19-D5DF91BBE7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42571"/>
            <a:ext cx="10548000" cy="890176"/>
          </a:xfrm>
        </p:spPr>
        <p:txBody>
          <a:bodyPr/>
          <a:lstStyle/>
          <a:p>
            <a:r>
              <a:rPr lang="en-IN"/>
              <a:t>Summary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FF406F-2C3C-D85B-D942-E77D8C5B81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464992"/>
            <a:ext cx="5797549" cy="4656138"/>
          </a:xfrm>
        </p:spPr>
        <p:txBody>
          <a:bodyPr/>
          <a:lstStyle/>
          <a:p>
            <a:pPr marL="179705" indent="-179705"/>
            <a:r>
              <a:rPr lang="en-US">
                <a:latin typeface="Arial"/>
                <a:cs typeface="Arial"/>
              </a:rPr>
              <a:t>IoT is an ecosystem where devices connect, communicate, and securely share data to make everyday tasks smarter and more efficient.</a:t>
            </a:r>
          </a:p>
          <a:p>
            <a:pPr marL="179705" indent="-179705"/>
            <a:endParaRPr lang="en-US">
              <a:latin typeface="Arial"/>
              <a:cs typeface="Arial"/>
            </a:endParaRPr>
          </a:p>
          <a:p>
            <a:pPr marL="179705" indent="-179705"/>
            <a:r>
              <a:rPr lang="en-US">
                <a:latin typeface="Arial"/>
                <a:cs typeface="Arial"/>
              </a:rPr>
              <a:t>It works by sensing information, connecting devices, analyzing data, and acting on insights automatically.</a:t>
            </a:r>
          </a:p>
          <a:p>
            <a:pPr marL="179705" indent="-179705"/>
            <a:endParaRPr lang="en-US">
              <a:latin typeface="Arial"/>
              <a:cs typeface="Arial"/>
            </a:endParaRPr>
          </a:p>
          <a:p>
            <a:pPr marL="179705" indent="-179705"/>
            <a:r>
              <a:rPr lang="en-US">
                <a:latin typeface="Arial"/>
                <a:cs typeface="Arial"/>
              </a:rPr>
              <a:t>IIoT takes these same principles into industrial environments, connecting machines and sensors to improve safety, efficiency, and decision-making.</a:t>
            </a:r>
            <a:endParaRPr lang="en-IN">
              <a:latin typeface="Arial"/>
              <a:cs typeface="Arial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44553BF-2B18-EF51-9302-9D7B4C597D0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9581" t="11581" r="10031" b="11883"/>
          <a:stretch>
            <a:fillRect/>
          </a:stretch>
        </p:blipFill>
        <p:spPr>
          <a:xfrm>
            <a:off x="6459957" y="1464992"/>
            <a:ext cx="5177532" cy="3585109"/>
          </a:xfrm>
          <a:prstGeom prst="rect">
            <a:avLst/>
          </a:prstGeom>
        </p:spPr>
      </p:pic>
      <p:sp>
        <p:nvSpPr>
          <p:cNvPr id="7" name="Date Placeholder 5">
            <a:extLst>
              <a:ext uri="{FF2B5EF4-FFF2-40B4-BE49-F238E27FC236}">
                <a16:creationId xmlns:a16="http://schemas.microsoft.com/office/drawing/2014/main" id="{8959CE71-02C0-D77D-C288-F5DD8A187E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8" name="Footer Placeholder 6">
            <a:extLst>
              <a:ext uri="{FF2B5EF4-FFF2-40B4-BE49-F238E27FC236}">
                <a16:creationId xmlns:a16="http://schemas.microsoft.com/office/drawing/2014/main" id="{115760D4-E5EC-64E4-6834-2EA5836198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9" name="Slide Number Placeholder 7">
            <a:extLst>
              <a:ext uri="{FF2B5EF4-FFF2-40B4-BE49-F238E27FC236}">
                <a16:creationId xmlns:a16="http://schemas.microsoft.com/office/drawing/2014/main" id="{0126C89B-8C53-9F43-AAD0-F5136FFF3D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17" name="TextBox 16"/>
          <p:cNvSpPr txBox="1"/>
          <p:nvPr/>
        </p:nvSpPr>
        <p:spPr>
          <a:xfrm>
            <a:off x="91440" y="914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t>🔊</a:t>
            </a:r>
          </a:p>
        </p:txBody>
      </p:sp>
    </p:spTree>
    <p:extLst>
      <p:ext uri="{BB962C8B-B14F-4D97-AF65-F5344CB8AC3E}">
        <p14:creationId xmlns:p14="http://schemas.microsoft.com/office/powerpoint/2010/main" val="25377886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223;p112">
            <a:extLst>
              <a:ext uri="{FF2B5EF4-FFF2-40B4-BE49-F238E27FC236}">
                <a16:creationId xmlns:a16="http://schemas.microsoft.com/office/drawing/2014/main" id="{B76CECBB-F302-DC01-BE3C-B7ECF1EC3FC7}"/>
              </a:ext>
            </a:extLst>
          </p:cNvPr>
          <p:cNvSpPr/>
          <p:nvPr/>
        </p:nvSpPr>
        <p:spPr>
          <a:xfrm>
            <a:off x="1" y="2796721"/>
            <a:ext cx="12192000" cy="4051004"/>
          </a:xfrm>
          <a:prstGeom prst="rect">
            <a:avLst/>
          </a:prstGeom>
          <a:solidFill>
            <a:srgbClr val="0B25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IN" sz="1800">
              <a:solidFill>
                <a:schemeClr val="lt1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D06D07D5-D58E-5443-A2F5-1D5DADF31395}"/>
              </a:ext>
            </a:extLst>
          </p:cNvPr>
          <p:cNvGrpSpPr/>
          <p:nvPr/>
        </p:nvGrpSpPr>
        <p:grpSpPr>
          <a:xfrm>
            <a:off x="9192621" y="5452968"/>
            <a:ext cx="1109472" cy="304800"/>
            <a:chOff x="5879399" y="4847042"/>
            <a:chExt cx="1109472" cy="304800"/>
          </a:xfrm>
        </p:grpSpPr>
        <p:pic>
          <p:nvPicPr>
            <p:cNvPr id="12" name="Grafik 11">
              <a:hlinkClick r:id="rId2"/>
              <a:extLst>
                <a:ext uri="{FF2B5EF4-FFF2-40B4-BE49-F238E27FC236}">
                  <a16:creationId xmlns:a16="http://schemas.microsoft.com/office/drawing/2014/main" id="{C6F80ABB-2391-F5C4-C739-4F1E7D2E6BE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275385" y="4847042"/>
              <a:ext cx="304800" cy="304800"/>
            </a:xfrm>
            <a:prstGeom prst="rect">
              <a:avLst/>
            </a:prstGeom>
          </p:spPr>
        </p:pic>
        <p:pic>
          <p:nvPicPr>
            <p:cNvPr id="13" name="Grafik 12">
              <a:hlinkClick r:id="rId5"/>
              <a:extLst>
                <a:ext uri="{FF2B5EF4-FFF2-40B4-BE49-F238E27FC236}">
                  <a16:creationId xmlns:a16="http://schemas.microsoft.com/office/drawing/2014/main" id="{DF9D82D2-FA02-7F5D-BE6C-66A2A45E26A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879399" y="4847042"/>
              <a:ext cx="304800" cy="304800"/>
            </a:xfrm>
            <a:prstGeom prst="rect">
              <a:avLst/>
            </a:prstGeom>
          </p:spPr>
        </p:pic>
        <p:pic>
          <p:nvPicPr>
            <p:cNvPr id="14" name="Grafik 13">
              <a:hlinkClick r:id="rId8"/>
              <a:extLst>
                <a:ext uri="{FF2B5EF4-FFF2-40B4-BE49-F238E27FC236}">
                  <a16:creationId xmlns:a16="http://schemas.microsoft.com/office/drawing/2014/main" id="{B46FA36E-4D4F-0023-9011-4B48A12C994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671371" y="4847042"/>
              <a:ext cx="317500" cy="304800"/>
            </a:xfrm>
            <a:prstGeom prst="rect">
              <a:avLst/>
            </a:prstGeom>
          </p:spPr>
        </p:pic>
      </p:grpSp>
      <p:sp>
        <p:nvSpPr>
          <p:cNvPr id="18" name="Google Shape;224;p112">
            <a:extLst>
              <a:ext uri="{FF2B5EF4-FFF2-40B4-BE49-F238E27FC236}">
                <a16:creationId xmlns:a16="http://schemas.microsoft.com/office/drawing/2014/main" id="{7E4F50FC-4853-1AAC-AA78-CEF8C568DF25}"/>
              </a:ext>
            </a:extLst>
          </p:cNvPr>
          <p:cNvSpPr/>
          <p:nvPr/>
        </p:nvSpPr>
        <p:spPr>
          <a:xfrm>
            <a:off x="0" y="0"/>
            <a:ext cx="8832850" cy="57964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IN" sz="1800">
              <a:solidFill>
                <a:schemeClr val="lt1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6E05483-A5DF-58EA-2FCF-EC4B2F9AB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830362"/>
            <a:ext cx="6036340" cy="2477125"/>
          </a:xfrm>
        </p:spPr>
        <p:txBody>
          <a:bodyPr/>
          <a:lstStyle/>
          <a:p>
            <a:r>
              <a:rPr lang="de-DE" sz="4800"/>
              <a:t>Thank you</a:t>
            </a:r>
            <a:br>
              <a:rPr lang="de-DE" sz="4800" b="1" i="0">
                <a:solidFill>
                  <a:srgbClr val="02ECA6"/>
                </a:solidFill>
                <a:ea typeface="Arial"/>
                <a:cs typeface="Arial"/>
                <a:sym typeface="Arial"/>
              </a:rPr>
            </a:br>
            <a:endParaRPr lang="de-DE" sz="480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C923CA3-795A-818D-969D-FAA0F3D7B9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3494" y="3621794"/>
            <a:ext cx="2633544" cy="1371386"/>
          </a:xfrm>
        </p:spPr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660"/>
              </a:spcBef>
              <a:spcAft>
                <a:spcPts val="0"/>
              </a:spcAft>
              <a:buClr>
                <a:srgbClr val="0046AD"/>
              </a:buClr>
              <a:buSzPts val="1080"/>
              <a:buFont typeface="Arial"/>
              <a:buNone/>
            </a:pPr>
            <a:r>
              <a:rPr lang="de-DE" sz="1200" b="1" i="0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rPr>
              <a:t>Name</a:t>
            </a:r>
            <a:br>
              <a:rPr lang="de-DE" sz="1200" b="0" i="0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rPr>
            </a:br>
            <a:r>
              <a:rPr lang="de-DE" sz="1200" b="0" i="0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rPr>
              <a:t>Position</a:t>
            </a:r>
            <a:endParaRPr lang="de-DE">
              <a:latin typeface="+mj-l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660"/>
              </a:spcBef>
              <a:spcAft>
                <a:spcPts val="0"/>
              </a:spcAft>
              <a:buClr>
                <a:srgbClr val="0046AD"/>
              </a:buClr>
              <a:buSzPts val="1080"/>
              <a:buFont typeface="Arial"/>
              <a:buNone/>
            </a:pPr>
            <a:r>
              <a:rPr lang="de-DE" sz="1200" b="0" i="0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rPr>
              <a:t>Email: lorem.ipsum@tuvsud.com</a:t>
            </a:r>
            <a:endParaRPr lang="de-DE">
              <a:latin typeface="+mj-l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6AD"/>
              </a:buClr>
              <a:buSzPts val="1080"/>
              <a:buFont typeface="Arial"/>
              <a:buNone/>
            </a:pPr>
            <a:r>
              <a:rPr lang="de-DE" sz="1200" b="0" i="0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rPr>
              <a:t>Phone: +XX XXX XXXXXX</a:t>
            </a:r>
            <a:endParaRPr lang="de-DE">
              <a:latin typeface="+mj-lt"/>
            </a:endParaRPr>
          </a:p>
          <a:p>
            <a:endParaRPr lang="de-DE">
              <a:latin typeface="+mj-lt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4D87C0C-B669-ED85-8175-AF69673F1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>
                <a:latin typeface="+mj-lt"/>
              </a:rPr>
              <a:pPr/>
              <a:t>18</a:t>
            </a:fld>
            <a:endParaRPr lang="de-DE">
              <a:latin typeface="+mj-lt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A1C5FC2-68E3-53B2-2D28-023C6D04F0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223494" y="3228968"/>
            <a:ext cx="2633544" cy="360000"/>
          </a:xfrm>
        </p:spPr>
        <p:txBody>
          <a:bodyPr/>
          <a:lstStyle/>
          <a:p>
            <a:r>
              <a:rPr lang="da-DK">
                <a:latin typeface="+mj-lt"/>
              </a:rPr>
              <a:t>Lorem ipsum dolor sit:</a:t>
            </a:r>
          </a:p>
          <a:p>
            <a:endParaRPr lang="de-DE">
              <a:latin typeface="+mj-lt"/>
            </a:endParaRP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C5B42E6E-9285-304B-7633-FFB0E25C2A8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23494" y="5870071"/>
            <a:ext cx="2640306" cy="419503"/>
          </a:xfrm>
        </p:spPr>
        <p:txBody>
          <a:bodyPr/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200" b="0" i="0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rPr>
              <a:t>tuvsud.com  </a:t>
            </a:r>
            <a:endParaRPr lang="de-DE">
              <a:latin typeface="+mj-lt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200" b="0" i="0" u="sng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tuvsud.com</a:t>
            </a:r>
            <a:r>
              <a:rPr lang="de-DE" sz="1200" b="0" i="0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rPr>
              <a:t>  </a:t>
            </a:r>
            <a:endParaRPr lang="de-DE">
              <a:latin typeface="+mj-lt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0ED6F56-42AD-AA86-21C6-0986D8881C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16733" y="5071161"/>
            <a:ext cx="2640306" cy="360000"/>
          </a:xfrm>
        </p:spPr>
        <p:txBody>
          <a:bodyPr/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600" b="1" i="0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rPr>
              <a:t>Follow </a:t>
            </a:r>
            <a:r>
              <a:rPr lang="de-DE" sz="1600" b="1" i="0" err="1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rPr>
              <a:t>us</a:t>
            </a:r>
            <a:r>
              <a:rPr lang="de-DE" sz="1600" b="1" i="0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rPr>
              <a:t> on:</a:t>
            </a:r>
            <a:endParaRPr lang="de-DE" sz="1600" i="0">
              <a:solidFill>
                <a:schemeClr val="lt1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pic>
        <p:nvPicPr>
          <p:cNvPr id="17" name="Google Shape;226;p112">
            <a:extLst>
              <a:ext uri="{FF2B5EF4-FFF2-40B4-BE49-F238E27FC236}">
                <a16:creationId xmlns:a16="http://schemas.microsoft.com/office/drawing/2014/main" id="{447CBC46-C3EF-5558-040C-774C552C16A2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 t="-2103"/>
          <a:stretch/>
        </p:blipFill>
        <p:spPr>
          <a:xfrm>
            <a:off x="8408960" y="2276872"/>
            <a:ext cx="409560" cy="3570724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Fußzeilenplatzhalter 3">
            <a:extLst>
              <a:ext uri="{FF2B5EF4-FFF2-40B4-BE49-F238E27FC236}">
                <a16:creationId xmlns:a16="http://schemas.microsoft.com/office/drawing/2014/main" id="{E245DB21-43A1-B505-1703-6FC5AA3D12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61261" cy="344335"/>
          </a:xfrm>
        </p:spPr>
        <p:txBody>
          <a:bodyPr/>
          <a:lstStyle/>
          <a:p>
            <a:r>
              <a:rPr lang="en-US">
                <a:ea typeface="+mn-lt"/>
                <a:cs typeface="+mn-lt"/>
              </a:rPr>
              <a:t>Thank you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517014-0352-1546-B441-9BE6CBDD58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19" name="TextBox 18"/>
          <p:cNvSpPr txBox="1"/>
          <p:nvPr/>
        </p:nvSpPr>
        <p:spPr>
          <a:xfrm>
            <a:off x="91440" y="914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t>🔊</a:t>
            </a:r>
          </a:p>
        </p:txBody>
      </p:sp>
    </p:spTree>
    <p:extLst>
      <p:ext uri="{BB962C8B-B14F-4D97-AF65-F5344CB8AC3E}">
        <p14:creationId xmlns:p14="http://schemas.microsoft.com/office/powerpoint/2010/main" val="2963766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Generated image">
            <a:extLst>
              <a:ext uri="{FF2B5EF4-FFF2-40B4-BE49-F238E27FC236}">
                <a16:creationId xmlns:a16="http://schemas.microsoft.com/office/drawing/2014/main" id="{B7333FD8-6723-9BDE-7C5D-103B1196DB3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2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2" r="6962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itle 21">
            <a:extLst>
              <a:ext uri="{FF2B5EF4-FFF2-40B4-BE49-F238E27FC236}">
                <a16:creationId xmlns:a16="http://schemas.microsoft.com/office/drawing/2014/main" id="{F3C6F89E-5450-66FB-EF16-7AD017759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Industrial Internet of Thing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4534AF-0A98-BA2E-8440-D7F5EB5126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FEE8FD2-F054-64ED-77D9-54DEEAF5A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Introduction to IoT &amp; IIo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DE1BFC-791F-6D33-B6D3-CBC1281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 smtClean="0"/>
              <a:t>2</a:t>
            </a:fld>
            <a:endParaRPr lang="de-DE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51AC55D1-1B73-C7BE-743A-FA26A5BC96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IN"/>
              <a:t>01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0921634-962A-89EC-4AEE-FE11875BF8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EC72F25-CCEA-35CB-2E66-3D371F9ACA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IN"/>
              <a:t>02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E6C12A3-997A-2A23-DA8D-4F69B3ED37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IN"/>
              <a:t>Future Outlook &amp; Trends </a:t>
            </a:r>
            <a:endParaRPr lang="en-IN">
              <a:cs typeface="Arial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86F84D5-61F9-11D3-A3BA-D7AFC5B2E9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>
                <a:cs typeface="Arial"/>
              </a:rPr>
              <a:t>03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87FD87-63BB-2440-44A7-2A8C5D96742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>
                <a:cs typeface="Arial"/>
              </a:rPr>
              <a:t>IIOT Architecture </a:t>
            </a:r>
            <a:endParaRPr lang="en-US">
              <a:cs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DB3485D-D5D1-DC86-E74D-6B5E79E1375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>
                <a:cs typeface="Arial"/>
              </a:rPr>
              <a:t>04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AAE58CF-DE77-B294-A0A7-DCD7807AEC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err="1">
                <a:cs typeface="Arial"/>
              </a:rPr>
              <a:t>IIoT</a:t>
            </a:r>
            <a:r>
              <a:rPr lang="en-GB">
                <a:cs typeface="Arial"/>
              </a:rPr>
              <a:t> Core Components</a:t>
            </a:r>
            <a:endParaRPr lang="en-US"/>
          </a:p>
        </p:txBody>
      </p:sp>
      <p:sp>
        <p:nvSpPr>
          <p:cNvPr id="1033" name="TextBox 1032"/>
          <p:cNvSpPr txBox="1"/>
          <p:nvPr/>
        </p:nvSpPr>
        <p:spPr>
          <a:xfrm>
            <a:off x="91440" y="914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t>🔊</a:t>
            </a:r>
          </a:p>
        </p:txBody>
      </p:sp>
    </p:spTree>
    <p:extLst>
      <p:ext uri="{BB962C8B-B14F-4D97-AF65-F5344CB8AC3E}">
        <p14:creationId xmlns:p14="http://schemas.microsoft.com/office/powerpoint/2010/main" val="21175877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2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A02E589-FA90-D477-8A2C-D5F3C940F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174" y="428625"/>
            <a:ext cx="5563645" cy="3600449"/>
          </a:xfrm>
          <a:noFill/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DE1205-E472-7207-FEAE-E7B3F0B3708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noFill/>
        </p:spPr>
        <p:txBody>
          <a:bodyPr/>
          <a:lstStyle/>
          <a:p>
            <a:r>
              <a:rPr lang="en-IN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standing </a:t>
            </a:r>
            <a:r>
              <a:rPr lang="en-US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IoT and IIoT Enable Smart Operations</a:t>
            </a:r>
            <a:endParaRPr lang="en-IN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664086-8902-C7A5-7753-B38CEF67CB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noFill/>
        </p:spPr>
        <p:txBody>
          <a:bodyPr/>
          <a:lstStyle/>
          <a:p>
            <a:r>
              <a:rPr lang="en-IN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ation: 30 Minutes</a:t>
            </a:r>
          </a:p>
        </p:txBody>
      </p:sp>
      <p:sp>
        <p:nvSpPr>
          <p:cNvPr id="3" name="SmartArt Placeholder 2">
            <a:extLst>
              <a:ext uri="{FF2B5EF4-FFF2-40B4-BE49-F238E27FC236}">
                <a16:creationId xmlns:a16="http://schemas.microsoft.com/office/drawing/2014/main" id="{26DDBD78-692E-9A38-EEBE-1098E2DB369B}"/>
              </a:ext>
            </a:extLst>
          </p:cNvPr>
          <p:cNvSpPr>
            <a:spLocks noGrp="1"/>
          </p:cNvSpPr>
          <p:nvPr>
            <p:ph type="dgm" sz="quarter" idx="12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10" name="Google Shape;23;p71">
            <a:extLst>
              <a:ext uri="{FF2B5EF4-FFF2-40B4-BE49-F238E27FC236}">
                <a16:creationId xmlns:a16="http://schemas.microsoft.com/office/drawing/2014/main" id="{6289302C-0B40-3CAA-D3F6-E5A3AF7902FB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Date Placeholder 5">
            <a:extLst>
              <a:ext uri="{FF2B5EF4-FFF2-40B4-BE49-F238E27FC236}">
                <a16:creationId xmlns:a16="http://schemas.microsoft.com/office/drawing/2014/main" id="{902D99A5-8F10-5B36-E2C5-C0432494AA28}"/>
              </a:ext>
            </a:extLst>
          </p:cNvPr>
          <p:cNvSpPr txBox="1">
            <a:spLocks/>
          </p:cNvSpPr>
          <p:nvPr/>
        </p:nvSpPr>
        <p:spPr>
          <a:xfrm>
            <a:off x="10441885" y="6513665"/>
            <a:ext cx="897194" cy="34433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587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365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/>
              <a:t>2025</a:t>
            </a:r>
            <a:endParaRPr lang="de-DE" sz="1000"/>
          </a:p>
        </p:txBody>
      </p:sp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D15002B1-4250-7FCD-FC42-8562F4FD6D09}"/>
              </a:ext>
            </a:extLst>
          </p:cNvPr>
          <p:cNvSpPr txBox="1">
            <a:spLocks/>
          </p:cNvSpPr>
          <p:nvPr/>
        </p:nvSpPr>
        <p:spPr>
          <a:xfrm>
            <a:off x="334962" y="6513665"/>
            <a:ext cx="9615281" cy="34433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587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365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000" b="1"/>
              <a:t>Introduction to IoT &amp; </a:t>
            </a:r>
            <a:r>
              <a:rPr lang="en-IN" sz="1000" b="1" err="1"/>
              <a:t>IIoT</a:t>
            </a:r>
            <a:endParaRPr lang="en-IN" sz="1000" b="1"/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6C3B1F2D-0F09-8B48-8E57-BC62965B0783}"/>
              </a:ext>
            </a:extLst>
          </p:cNvPr>
          <p:cNvSpPr txBox="1">
            <a:spLocks/>
          </p:cNvSpPr>
          <p:nvPr/>
        </p:nvSpPr>
        <p:spPr>
          <a:xfrm>
            <a:off x="11415252" y="6513665"/>
            <a:ext cx="441786" cy="34433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587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365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88F065A-EFAC-409A-9F56-D24A0EB303A4}" type="slidenum">
              <a:rPr lang="de-DE" sz="1000" b="1" smtClean="0"/>
              <a:pPr algn="r"/>
              <a:t>3</a:t>
            </a:fld>
            <a:endParaRPr lang="de-DE" sz="1000" b="1"/>
          </a:p>
        </p:txBody>
      </p:sp>
      <p:sp>
        <p:nvSpPr>
          <p:cNvPr id="14" name="TextBox 13"/>
          <p:cNvSpPr txBox="1"/>
          <p:nvPr/>
        </p:nvSpPr>
        <p:spPr>
          <a:xfrm>
            <a:off x="91440" y="914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t>🔊</a:t>
            </a:r>
          </a:p>
        </p:txBody>
      </p:sp>
    </p:spTree>
    <p:extLst>
      <p:ext uri="{BB962C8B-B14F-4D97-AF65-F5344CB8AC3E}">
        <p14:creationId xmlns:p14="http://schemas.microsoft.com/office/powerpoint/2010/main" val="22778646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CCCB5D83-45D2-F084-E134-247AE4C550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Learning Objective</a:t>
            </a:r>
          </a:p>
        </p:txBody>
      </p:sp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7AE142A3-45E1-E865-9911-9E64BCC93E7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59992102"/>
              </p:ext>
            </p:extLst>
          </p:nvPr>
        </p:nvGraphicFramePr>
        <p:xfrm>
          <a:off x="334964" y="1405601"/>
          <a:ext cx="5581650" cy="46561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618BC1-364B-DE90-663F-91E28C1207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E0E25FB-5EB0-BCCD-3130-0EFEEE44FA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CEC07BE-59F4-B9BD-6A19-471DBA0DB7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3A205351-03BD-D82E-A1B7-50AE00C75789}"/>
              </a:ext>
            </a:extLst>
          </p:cNvPr>
          <p:cNvPicPr>
            <a:picLocks noGrp="1" noChangeAspect="1"/>
          </p:cNvPicPr>
          <p:nvPr>
            <p:ph idx="13"/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75388" y="1456401"/>
            <a:ext cx="5581650" cy="3189514"/>
          </a:xfrm>
        </p:spPr>
      </p:pic>
      <p:sp>
        <p:nvSpPr>
          <p:cNvPr id="11" name="TextBox 10"/>
          <p:cNvSpPr txBox="1"/>
          <p:nvPr/>
        </p:nvSpPr>
        <p:spPr>
          <a:xfrm>
            <a:off x="91440" y="914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t>🔊</a:t>
            </a:r>
          </a:p>
        </p:txBody>
      </p:sp>
    </p:spTree>
    <p:extLst>
      <p:ext uri="{BB962C8B-B14F-4D97-AF65-F5344CB8AC3E}">
        <p14:creationId xmlns:p14="http://schemas.microsoft.com/office/powerpoint/2010/main" val="24935748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3E25D248-86E9-3822-E721-1BEF3E751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482" y="2983912"/>
            <a:ext cx="11514556" cy="890176"/>
          </a:xfrm>
        </p:spPr>
        <p:txBody>
          <a:bodyPr/>
          <a:lstStyle/>
          <a:p>
            <a:pPr algn="ctr"/>
            <a:r>
              <a:rPr lang="en-IN" sz="4800">
                <a:solidFill>
                  <a:schemeClr val="bg2"/>
                </a:solidFill>
              </a:rPr>
              <a:t>Internet</a:t>
            </a:r>
            <a:r>
              <a:rPr lang="en-IN" sz="4800"/>
              <a:t> of </a:t>
            </a:r>
            <a:r>
              <a:rPr lang="en-IN" sz="4800">
                <a:solidFill>
                  <a:schemeClr val="accent5"/>
                </a:solidFill>
              </a:rPr>
              <a:t>Thing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EA1EA5-0D4B-EB01-5D1F-607055F9F6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35BC68-33A6-2355-450B-505F88BC91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E68AA7-C4DE-3AB8-45BB-E477F028ED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 smtClean="0"/>
              <a:t>5</a:t>
            </a:fld>
            <a:endParaRPr lang="de-DE"/>
          </a:p>
        </p:txBody>
      </p:sp>
      <p:sp>
        <p:nvSpPr>
          <p:cNvPr id="9" name="TextBox 8"/>
          <p:cNvSpPr txBox="1"/>
          <p:nvPr/>
        </p:nvSpPr>
        <p:spPr>
          <a:xfrm>
            <a:off x="91440" y="914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t>🔊</a:t>
            </a:r>
          </a:p>
        </p:txBody>
      </p:sp>
    </p:spTree>
    <p:extLst>
      <p:ext uri="{BB962C8B-B14F-4D97-AF65-F5344CB8AC3E}">
        <p14:creationId xmlns:p14="http://schemas.microsoft.com/office/powerpoint/2010/main" val="7164740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D24456-6C60-4D38-B519-6DE831206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Internet: Networ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024EB0-9F58-B471-20B5-5169EFD40E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134" y="1454323"/>
            <a:ext cx="5581650" cy="4656138"/>
          </a:xfrm>
        </p:spPr>
        <p:txBody>
          <a:bodyPr/>
          <a:lstStyle/>
          <a:p>
            <a:r>
              <a:rPr lang="en-US"/>
              <a:t>An</a:t>
            </a:r>
            <a:r>
              <a:rPr lang="en-US" b="1"/>
              <a:t> “Internet” </a:t>
            </a:r>
            <a:r>
              <a:rPr lang="en-US"/>
              <a:t>means a network that connects devices.</a:t>
            </a:r>
          </a:p>
          <a:p>
            <a:r>
              <a:rPr lang="en-US"/>
              <a:t>This network can use wired connections (such as Ethernet cables) or wireless technologies (like Wi-Fi, Bluetooth, or 5G).</a:t>
            </a:r>
          </a:p>
          <a:p>
            <a:r>
              <a:rPr lang="en-US"/>
              <a:t>The network allows devices to communicate, share information, and work together.</a:t>
            </a:r>
          </a:p>
          <a:p>
            <a:endParaRPr lang="en-US"/>
          </a:p>
          <a:p>
            <a:r>
              <a:rPr lang="en-US" b="1"/>
              <a:t>Example:</a:t>
            </a:r>
          </a:p>
          <a:p>
            <a:pPr lvl="1"/>
            <a:r>
              <a:rPr lang="en-US" b="1"/>
              <a:t>Bluetooth</a:t>
            </a:r>
            <a:r>
              <a:rPr lang="en-US"/>
              <a:t> enables a cell phone to connect to wireless headphones to listen to music, or to transfer files between two phones.</a:t>
            </a:r>
            <a:endParaRPr lang="en-IN"/>
          </a:p>
        </p:txBody>
      </p:sp>
      <p:sp>
        <p:nvSpPr>
          <p:cNvPr id="7" name="Date Placeholder 5">
            <a:extLst>
              <a:ext uri="{FF2B5EF4-FFF2-40B4-BE49-F238E27FC236}">
                <a16:creationId xmlns:a16="http://schemas.microsoft.com/office/drawing/2014/main" id="{7E59D7B1-D85D-F10F-7F1D-21CCA44459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8" name="Footer Placeholder 6">
            <a:extLst>
              <a:ext uri="{FF2B5EF4-FFF2-40B4-BE49-F238E27FC236}">
                <a16:creationId xmlns:a16="http://schemas.microsoft.com/office/drawing/2014/main" id="{DC4C0AFE-9AEC-9BB3-906A-AC2E07CB1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IIoT</a:t>
            </a:r>
          </a:p>
        </p:txBody>
      </p:sp>
      <p:sp>
        <p:nvSpPr>
          <p:cNvPr id="10" name="Slide Number Placeholder 7">
            <a:extLst>
              <a:ext uri="{FF2B5EF4-FFF2-40B4-BE49-F238E27FC236}">
                <a16:creationId xmlns:a16="http://schemas.microsoft.com/office/drawing/2014/main" id="{AEB68E2B-5D01-588D-D60C-8D11A7754B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6</a:t>
            </a:fld>
            <a:endParaRPr lang="de-DE"/>
          </a:p>
        </p:txBody>
      </p:sp>
      <p:pic>
        <p:nvPicPr>
          <p:cNvPr id="12" name="Picture 11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07B426F-8F3C-31FB-911B-A6126108FB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37" t="9255" r="9383" b="10900"/>
          <a:stretch>
            <a:fillRect/>
          </a:stretch>
        </p:blipFill>
        <p:spPr>
          <a:xfrm>
            <a:off x="6149790" y="1454323"/>
            <a:ext cx="5832032" cy="3279042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91440" y="914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t>🔊</a:t>
            </a:r>
          </a:p>
        </p:txBody>
      </p:sp>
    </p:spTree>
    <p:extLst>
      <p:ext uri="{BB962C8B-B14F-4D97-AF65-F5344CB8AC3E}">
        <p14:creationId xmlns:p14="http://schemas.microsoft.com/office/powerpoint/2010/main" val="18705397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6EEBA3-1B6A-C999-3AF2-12613C9422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Things: Physical Devi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49A939-C889-156D-8A0C-1F81631A01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4" y="1459548"/>
            <a:ext cx="5581650" cy="4656138"/>
          </a:xfrm>
        </p:spPr>
        <p:txBody>
          <a:bodyPr/>
          <a:lstStyle/>
          <a:p>
            <a:r>
              <a:rPr lang="en-US"/>
              <a:t>A </a:t>
            </a:r>
            <a:r>
              <a:rPr lang="en-US" b="1"/>
              <a:t>“thing” </a:t>
            </a:r>
            <a:r>
              <a:rPr lang="en-US"/>
              <a:t>could be any physical device like a water bottle with a sensor, a home appliance such as a TV, refrigerator, or smart bulb, or any machine in a factory that can collect and share data.</a:t>
            </a:r>
          </a:p>
          <a:p>
            <a:endParaRPr lang="en-US"/>
          </a:p>
          <a:p>
            <a:r>
              <a:rPr lang="en-US" b="1"/>
              <a:t>Examples:</a:t>
            </a:r>
          </a:p>
          <a:p>
            <a:pPr lvl="1"/>
            <a:r>
              <a:rPr lang="en-US" b="1"/>
              <a:t>A sprinkler system </a:t>
            </a:r>
            <a:r>
              <a:rPr lang="en-US"/>
              <a:t>can be connected with soil sensors that measure humidity. </a:t>
            </a:r>
          </a:p>
          <a:p>
            <a:pPr lvl="1"/>
            <a:r>
              <a:rPr lang="en-US"/>
              <a:t>When the soil is dry, the sprinkler turns on automatically to water the garden. </a:t>
            </a:r>
          </a:p>
        </p:txBody>
      </p:sp>
      <p:sp>
        <p:nvSpPr>
          <p:cNvPr id="7" name="Date Placeholder 5">
            <a:extLst>
              <a:ext uri="{FF2B5EF4-FFF2-40B4-BE49-F238E27FC236}">
                <a16:creationId xmlns:a16="http://schemas.microsoft.com/office/drawing/2014/main" id="{E2FB2A59-849E-828A-F779-9E13B3542D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8" name="Footer Placeholder 6">
            <a:extLst>
              <a:ext uri="{FF2B5EF4-FFF2-40B4-BE49-F238E27FC236}">
                <a16:creationId xmlns:a16="http://schemas.microsoft.com/office/drawing/2014/main" id="{E5F12325-9D10-331D-BB84-A45FCD4CDB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9" name="Slide Number Placeholder 7">
            <a:extLst>
              <a:ext uri="{FF2B5EF4-FFF2-40B4-BE49-F238E27FC236}">
                <a16:creationId xmlns:a16="http://schemas.microsoft.com/office/drawing/2014/main" id="{63D1FC66-E67F-32CB-FB1D-A5D9C27074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7</a:t>
            </a:fld>
            <a:endParaRPr lang="de-DE"/>
          </a:p>
        </p:txBody>
      </p:sp>
      <p:pic>
        <p:nvPicPr>
          <p:cNvPr id="14" name="Picture 13" descr="A screen shot of a computer&#10;&#10;AI-generated content may be incorrect.">
            <a:extLst>
              <a:ext uri="{FF2B5EF4-FFF2-40B4-BE49-F238E27FC236}">
                <a16:creationId xmlns:a16="http://schemas.microsoft.com/office/drawing/2014/main" id="{15841887-2BD7-FD90-77A8-D37B4BF0C5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7" t="9568" r="6371" b="19686"/>
          <a:stretch>
            <a:fillRect/>
          </a:stretch>
        </p:blipFill>
        <p:spPr>
          <a:xfrm>
            <a:off x="6295969" y="1459548"/>
            <a:ext cx="5561069" cy="2530490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91440" y="914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t>🔊</a:t>
            </a:r>
          </a:p>
        </p:txBody>
      </p:sp>
    </p:spTree>
    <p:extLst>
      <p:ext uri="{BB962C8B-B14F-4D97-AF65-F5344CB8AC3E}">
        <p14:creationId xmlns:p14="http://schemas.microsoft.com/office/powerpoint/2010/main" val="7679389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  <p:extLst>
    <p:ext uri="{6950BFC3-D8DA-4A85-94F7-54DA5524770B}">
      <p188:commentRel xmlns:p188="http://schemas.microsoft.com/office/powerpoint/2018/8/main" r:id="rId2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5C1B2F03-0DD1-0819-D77F-7A13A365D9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What is Internet of Things?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F2F93294-64F8-066A-C794-64A3C2135B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4" y="1459230"/>
            <a:ext cx="5581650" cy="4656138"/>
          </a:xfrm>
        </p:spPr>
        <p:txBody>
          <a:bodyPr/>
          <a:lstStyle/>
          <a:p>
            <a:r>
              <a:rPr lang="en-US"/>
              <a:t>The Internet of Things (IoT) is a network of physical devices embedded with sensors, software, and connectivity that enables them to connect and exchange data with other devices and systems over the internet.</a:t>
            </a:r>
          </a:p>
          <a:p>
            <a:endParaRPr lang="en-US"/>
          </a:p>
          <a:p>
            <a:endParaRPr lang="en-US" b="1"/>
          </a:p>
          <a:p>
            <a:endParaRPr lang="en-US" b="1"/>
          </a:p>
          <a:p>
            <a:endParaRPr lang="en-US" b="1"/>
          </a:p>
          <a:p>
            <a:r>
              <a:rPr lang="en-US" b="1"/>
              <a:t>Example: </a:t>
            </a:r>
          </a:p>
          <a:p>
            <a:pPr lvl="1"/>
            <a:r>
              <a:rPr lang="en-US"/>
              <a:t>A smart home uses IoT when devices like thermostats, lights, and security cameras are connected through the internet. </a:t>
            </a:r>
          </a:p>
          <a:p>
            <a:pPr lvl="1"/>
            <a:r>
              <a:rPr lang="en-US"/>
              <a:t>They can share information and be controlled remotely, making the home more efficient, safe, and convenient.</a:t>
            </a:r>
            <a:endParaRPr lang="en-IN"/>
          </a:p>
        </p:txBody>
      </p:sp>
      <p:pic>
        <p:nvPicPr>
          <p:cNvPr id="15" name="Online Media 14" title="Life Simplified with Connected Devices">
            <a:hlinkClick r:id="" action="ppaction://media"/>
            <a:extLst>
              <a:ext uri="{FF2B5EF4-FFF2-40B4-BE49-F238E27FC236}">
                <a16:creationId xmlns:a16="http://schemas.microsoft.com/office/drawing/2014/main" id="{8648AFCF-2394-F8F5-617F-784209A9448B}"/>
              </a:ext>
            </a:extLst>
          </p:cNvPr>
          <p:cNvPicPr>
            <a:picLocks noGrp="1" noRot="1" noChangeAspect="1"/>
          </p:cNvPicPr>
          <p:nvPr>
            <p:ph idx="13"/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6275386" y="1449388"/>
            <a:ext cx="5581650" cy="3154362"/>
          </a:xfrm>
          <a:prstGeom prst="rect">
            <a:avLst/>
          </a:prstGeom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77915285-BF5E-7AA9-1C4C-6B53DB2D1E7F}"/>
              </a:ext>
            </a:extLst>
          </p:cNvPr>
          <p:cNvSpPr/>
          <p:nvPr/>
        </p:nvSpPr>
        <p:spPr>
          <a:xfrm>
            <a:off x="334963" y="2631730"/>
            <a:ext cx="5581650" cy="568499"/>
          </a:xfrm>
          <a:prstGeom prst="roundRect">
            <a:avLst/>
          </a:prstGeom>
          <a:solidFill>
            <a:srgbClr val="F2EFED"/>
          </a:solidFill>
          <a:ln>
            <a:noFill/>
          </a:ln>
        </p:spPr>
        <p:txBody>
          <a:bodyPr spcFirstLastPara="1" wrap="square" lIns="72000" tIns="72000" rIns="72000" bIns="72000" rtlCol="0" anchor="ctr" anchorCtr="0">
            <a:noAutofit/>
          </a:bodyPr>
          <a:lstStyle/>
          <a:p>
            <a:pPr algn="ctr">
              <a:spcAft>
                <a:spcPts val="600"/>
              </a:spcAft>
              <a:buClr>
                <a:schemeClr val="bg2"/>
              </a:buClr>
            </a:pPr>
            <a:r>
              <a:rPr lang="en-IN" b="1">
                <a:solidFill>
                  <a:schemeClr val="bg2"/>
                </a:solidFill>
              </a:rPr>
              <a:t>Internet   +   Things  =   Internet of Things</a:t>
            </a:r>
          </a:p>
        </p:txBody>
      </p:sp>
      <p:sp>
        <p:nvSpPr>
          <p:cNvPr id="2" name="Date Placeholder 5">
            <a:extLst>
              <a:ext uri="{FF2B5EF4-FFF2-40B4-BE49-F238E27FC236}">
                <a16:creationId xmlns:a16="http://schemas.microsoft.com/office/drawing/2014/main" id="{3E0D19A5-8861-6432-0DE9-28E52299C2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018C45CD-435D-E421-0C13-356B4131DA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EE69C148-4370-0592-C146-12D1280BB0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0418BB-2F49-BC11-7968-20EC3FF72F8B}"/>
              </a:ext>
            </a:extLst>
          </p:cNvPr>
          <p:cNvSpPr txBox="1"/>
          <p:nvPr/>
        </p:nvSpPr>
        <p:spPr>
          <a:xfrm>
            <a:off x="8477250" y="4818215"/>
            <a:ext cx="923926" cy="16192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CA" sz="1000" i="1" dirty="0"/>
              <a:t>Source link: </a:t>
            </a:r>
            <a:r>
              <a:rPr lang="en-CA" sz="1000" i="1" dirty="0">
                <a:hlinkClick r:id="rId4"/>
              </a:rPr>
              <a:t>link</a:t>
            </a:r>
            <a:endParaRPr lang="en-CA" sz="1000" i="1" dirty="0"/>
          </a:p>
        </p:txBody>
      </p:sp>
      <p:sp>
        <p:nvSpPr>
          <p:cNvPr id="34" name="TextBox 33"/>
          <p:cNvSpPr txBox="1"/>
          <p:nvPr/>
        </p:nvSpPr>
        <p:spPr>
          <a:xfrm>
            <a:off x="91440" y="914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t>🔊</a:t>
            </a:r>
          </a:p>
        </p:txBody>
      </p:sp>
    </p:spTree>
    <p:extLst>
      <p:ext uri="{BB962C8B-B14F-4D97-AF65-F5344CB8AC3E}">
        <p14:creationId xmlns:p14="http://schemas.microsoft.com/office/powerpoint/2010/main" val="800513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8" fill="hold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29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0" fill="hold">
                      <p:stCondLst>
                        <p:cond delay="0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3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  <p:bldLst>
      <p:bldP spid="13" grpId="0" uiExpand="1" build="p"/>
      <p:bldP spid="1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1"/>
          <p:cNvSpPr/>
          <p:nvPr/>
        </p:nvSpPr>
        <p:spPr>
          <a:xfrm>
            <a:off x="381000" y="1458982"/>
            <a:ext cx="3595280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600">
                <a:ea typeface="Noto Sans" pitchFamily="34" charset="-122"/>
                <a:cs typeface="Noto Sans" pitchFamily="34" charset="-120"/>
              </a:rPr>
              <a:t>Sense → Connect → Analyze → Act</a:t>
            </a:r>
            <a:endParaRPr lang="en-US" sz="1600"/>
          </a:p>
        </p:txBody>
      </p:sp>
      <p:sp>
        <p:nvSpPr>
          <p:cNvPr id="5" name="Text 2"/>
          <p:cNvSpPr/>
          <p:nvPr/>
        </p:nvSpPr>
        <p:spPr>
          <a:xfrm>
            <a:off x="381000" y="1835310"/>
            <a:ext cx="11430000" cy="492443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spAutoFit/>
          </a:bodyPr>
          <a:lstStyle/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600">
                <a:ea typeface="Noto Sans" pitchFamily="34" charset="-122"/>
                <a:cs typeface="Noto Sans" pitchFamily="34" charset="-120"/>
              </a:rPr>
              <a:t>The Internet of Things operates through a four-step process that enables devices to collect, transmit, process, and act on data without human intervention.</a:t>
            </a:r>
            <a:endParaRPr lang="en-US" sz="160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29BDC0E-6982-48AF-014D-D6A55E3A6761}"/>
              </a:ext>
            </a:extLst>
          </p:cNvPr>
          <p:cNvGrpSpPr/>
          <p:nvPr/>
        </p:nvGrpSpPr>
        <p:grpSpPr>
          <a:xfrm>
            <a:off x="637506" y="2926080"/>
            <a:ext cx="2354608" cy="3230880"/>
            <a:chOff x="637506" y="2926080"/>
            <a:chExt cx="2354608" cy="3230880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7626652-6F56-FC6F-A900-2D9D67CAF698}"/>
                </a:ext>
              </a:extLst>
            </p:cNvPr>
            <p:cNvSpPr/>
            <p:nvPr/>
          </p:nvSpPr>
          <p:spPr>
            <a:xfrm>
              <a:off x="637506" y="2926080"/>
              <a:ext cx="2354608" cy="3230880"/>
            </a:xfrm>
            <a:prstGeom prst="rect">
              <a:avLst/>
            </a:prstGeom>
            <a:solidFill>
              <a:srgbClr val="F2EFED"/>
            </a:solidFill>
            <a:ln>
              <a:solidFill>
                <a:schemeClr val="bg2"/>
              </a:solidFill>
            </a:ln>
          </p:spPr>
          <p:txBody>
            <a:bodyPr spcFirstLastPara="1" wrap="square" lIns="72000" tIns="72000" rIns="72000" bIns="72000" rtlCol="0" anchor="t" anchorCtr="0">
              <a:noAutofit/>
            </a:bodyPr>
            <a:lstStyle/>
            <a:p>
              <a:pPr marL="171450" indent="-171450" algn="l"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endParaRPr lang="en-IN" sz="1200"/>
            </a:p>
          </p:txBody>
        </p:sp>
        <p:sp>
          <p:nvSpPr>
            <p:cNvPr id="6" name="Shape 3"/>
            <p:cNvSpPr/>
            <p:nvPr/>
          </p:nvSpPr>
          <p:spPr>
            <a:xfrm>
              <a:off x="1571625" y="3186431"/>
              <a:ext cx="476251" cy="476251"/>
            </a:xfrm>
            <a:prstGeom prst="ellipse">
              <a:avLst/>
            </a:prstGeom>
            <a:solidFill>
              <a:schemeClr val="bg2"/>
            </a:solidFill>
            <a:ln/>
          </p:spPr>
          <p:txBody>
            <a:bodyPr/>
            <a:lstStyle/>
            <a:p>
              <a:endParaRPr lang="en-IN" sz="2400"/>
            </a:p>
          </p:txBody>
        </p:sp>
        <p:sp>
          <p:nvSpPr>
            <p:cNvPr id="7" name="Text 4"/>
            <p:cNvSpPr/>
            <p:nvPr/>
          </p:nvSpPr>
          <p:spPr>
            <a:xfrm>
              <a:off x="1745631" y="3286056"/>
              <a:ext cx="128240" cy="276999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b="1">
                  <a:solidFill>
                    <a:srgbClr val="FFFFFF"/>
                  </a:solidFill>
                  <a:ea typeface="Noto Sans" pitchFamily="34" charset="-122"/>
                  <a:cs typeface="Noto Sans" pitchFamily="34" charset="-120"/>
                </a:rPr>
                <a:t>1</a:t>
              </a:r>
              <a:endParaRPr lang="en-US"/>
            </a:p>
          </p:txBody>
        </p:sp>
        <p:pic>
          <p:nvPicPr>
            <p:cNvPr id="8" name="Image 1" descr="preencoded.png"/>
            <p:cNvPicPr>
              <a:picLocks noChangeAspect="1"/>
            </p:cNvPicPr>
            <p:nvPr/>
          </p:nvPicPr>
          <p:blipFill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638301" y="3805555"/>
              <a:ext cx="342900" cy="342900"/>
            </a:xfrm>
            <a:prstGeom prst="rect">
              <a:avLst/>
            </a:prstGeom>
          </p:spPr>
        </p:pic>
        <p:sp>
          <p:nvSpPr>
            <p:cNvPr id="9" name="Text 5"/>
            <p:cNvSpPr/>
            <p:nvPr/>
          </p:nvSpPr>
          <p:spPr>
            <a:xfrm>
              <a:off x="1463503" y="4325382"/>
              <a:ext cx="692498" cy="246221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sz="1600" b="1">
                  <a:ea typeface="Noto Sans" pitchFamily="34" charset="-122"/>
                  <a:cs typeface="Noto Sans" pitchFamily="34" charset="-120"/>
                </a:rPr>
                <a:t>SENSE</a:t>
              </a:r>
              <a:endParaRPr lang="en-US" sz="1600"/>
            </a:p>
          </p:txBody>
        </p:sp>
        <p:sp>
          <p:nvSpPr>
            <p:cNvPr id="10" name="Text 6"/>
            <p:cNvSpPr/>
            <p:nvPr/>
          </p:nvSpPr>
          <p:spPr>
            <a:xfrm>
              <a:off x="769620" y="4741814"/>
              <a:ext cx="2065020" cy="1077218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>
              <a:spAutoFit/>
            </a:bodyPr>
            <a:lstStyle/>
            <a:p>
              <a:pPr marL="285750" indent="-285750" algn="ctr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>
                  <a:ea typeface="Noto Sans" pitchFamily="34" charset="-122"/>
                  <a:cs typeface="Noto Sans" pitchFamily="34" charset="-120"/>
                </a:rPr>
                <a:t>Sensors collect data from the physical environment (temperature, motion, light, etc.)</a:t>
              </a:r>
              <a:endParaRPr lang="en-US" sz="140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239B109-FC94-80F4-512C-26C4ED183A06}"/>
              </a:ext>
            </a:extLst>
          </p:cNvPr>
          <p:cNvGrpSpPr/>
          <p:nvPr/>
        </p:nvGrpSpPr>
        <p:grpSpPr>
          <a:xfrm>
            <a:off x="3474832" y="2926080"/>
            <a:ext cx="2354608" cy="3230880"/>
            <a:chOff x="3474832" y="2926080"/>
            <a:chExt cx="2354608" cy="323088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5106DAB-6ECF-8D77-D5A5-23D466CD0A61}"/>
                </a:ext>
              </a:extLst>
            </p:cNvPr>
            <p:cNvSpPr/>
            <p:nvPr/>
          </p:nvSpPr>
          <p:spPr>
            <a:xfrm>
              <a:off x="3474832" y="2926080"/>
              <a:ext cx="2354608" cy="3230880"/>
            </a:xfrm>
            <a:prstGeom prst="rect">
              <a:avLst/>
            </a:prstGeom>
            <a:solidFill>
              <a:srgbClr val="F2EFED"/>
            </a:solidFill>
            <a:ln>
              <a:solidFill>
                <a:schemeClr val="bg2"/>
              </a:solidFill>
            </a:ln>
          </p:spPr>
          <p:txBody>
            <a:bodyPr spcFirstLastPara="1" wrap="square" lIns="72000" tIns="72000" rIns="72000" bIns="72000" rtlCol="0" anchor="t" anchorCtr="0">
              <a:noAutofit/>
            </a:bodyPr>
            <a:lstStyle/>
            <a:p>
              <a:pPr marL="171450" indent="-171450" algn="l"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endParaRPr lang="en-IN" sz="1200"/>
            </a:p>
          </p:txBody>
        </p:sp>
        <p:sp>
          <p:nvSpPr>
            <p:cNvPr id="12" name="Shape 7"/>
            <p:cNvSpPr/>
            <p:nvPr/>
          </p:nvSpPr>
          <p:spPr>
            <a:xfrm>
              <a:off x="4414011" y="3186431"/>
              <a:ext cx="476251" cy="476251"/>
            </a:xfrm>
            <a:prstGeom prst="ellipse">
              <a:avLst/>
            </a:prstGeom>
            <a:solidFill>
              <a:schemeClr val="bg2"/>
            </a:solidFill>
            <a:ln/>
          </p:spPr>
          <p:txBody>
            <a:bodyPr/>
            <a:lstStyle/>
            <a:p>
              <a:endParaRPr lang="en-IN" sz="2400"/>
            </a:p>
          </p:txBody>
        </p:sp>
        <p:sp>
          <p:nvSpPr>
            <p:cNvPr id="13" name="Text 8"/>
            <p:cNvSpPr/>
            <p:nvPr/>
          </p:nvSpPr>
          <p:spPr>
            <a:xfrm>
              <a:off x="4588016" y="3286056"/>
              <a:ext cx="128240" cy="276999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b="1">
                  <a:solidFill>
                    <a:srgbClr val="FFFFFF"/>
                  </a:solidFill>
                  <a:ea typeface="Noto Sans" pitchFamily="34" charset="-122"/>
                  <a:cs typeface="Noto Sans" pitchFamily="34" charset="-120"/>
                </a:rPr>
                <a:t>2</a:t>
              </a:r>
              <a:endParaRPr lang="en-US"/>
            </a:p>
          </p:txBody>
        </p:sp>
        <p:pic>
          <p:nvPicPr>
            <p:cNvPr id="14" name="Image 3" descr="preencoded.png"/>
            <p:cNvPicPr>
              <a:picLocks noChangeAspect="1"/>
            </p:cNvPicPr>
            <p:nvPr/>
          </p:nvPicPr>
          <p:blipFill>
            <a:blip r:embed="rId4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437824" y="3805555"/>
              <a:ext cx="428625" cy="342900"/>
            </a:xfrm>
            <a:prstGeom prst="rect">
              <a:avLst/>
            </a:prstGeom>
          </p:spPr>
        </p:pic>
        <p:sp>
          <p:nvSpPr>
            <p:cNvPr id="15" name="Text 9"/>
            <p:cNvSpPr/>
            <p:nvPr/>
          </p:nvSpPr>
          <p:spPr>
            <a:xfrm>
              <a:off x="4129557" y="4321471"/>
              <a:ext cx="1045158" cy="254044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sz="1600" b="1">
                  <a:ea typeface="Noto Sans" pitchFamily="34" charset="-122"/>
                  <a:cs typeface="Noto Sans" pitchFamily="34" charset="-120"/>
                </a:rPr>
                <a:t>CONNECT</a:t>
              </a:r>
              <a:endParaRPr lang="en-US" sz="1600"/>
            </a:p>
          </p:txBody>
        </p:sp>
        <p:sp>
          <p:nvSpPr>
            <p:cNvPr id="16" name="Text 10"/>
            <p:cNvSpPr/>
            <p:nvPr/>
          </p:nvSpPr>
          <p:spPr>
            <a:xfrm>
              <a:off x="3619626" y="4741814"/>
              <a:ext cx="2065020" cy="861774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>
              <a:spAutoFit/>
            </a:bodyPr>
            <a:lstStyle/>
            <a:p>
              <a:pPr marL="285750" indent="-285750" algn="ctr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>
                  <a:ea typeface="Noto Sans" pitchFamily="34" charset="-122"/>
                  <a:cs typeface="Noto Sans" pitchFamily="34" charset="-120"/>
                </a:rPr>
                <a:t>Data is transmitted via networks (WiFi, Bluetooth, 5G, etc.) to cloud platforms</a:t>
              </a:r>
              <a:endParaRPr lang="en-US" sz="140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EF9F381-7123-B96E-2A8F-A772D352E8CD}"/>
              </a:ext>
            </a:extLst>
          </p:cNvPr>
          <p:cNvGrpSpPr/>
          <p:nvPr/>
        </p:nvGrpSpPr>
        <p:grpSpPr>
          <a:xfrm>
            <a:off x="6312158" y="2926080"/>
            <a:ext cx="2354608" cy="3230880"/>
            <a:chOff x="6312158" y="2926080"/>
            <a:chExt cx="2354608" cy="3230880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243380C-C0DB-0B18-C1AC-3F494CF57B29}"/>
                </a:ext>
              </a:extLst>
            </p:cNvPr>
            <p:cNvSpPr/>
            <p:nvPr/>
          </p:nvSpPr>
          <p:spPr>
            <a:xfrm>
              <a:off x="6312158" y="2926080"/>
              <a:ext cx="2354608" cy="3230880"/>
            </a:xfrm>
            <a:prstGeom prst="rect">
              <a:avLst/>
            </a:prstGeom>
            <a:solidFill>
              <a:srgbClr val="F2EFED"/>
            </a:solidFill>
            <a:ln>
              <a:solidFill>
                <a:schemeClr val="bg2"/>
              </a:solidFill>
            </a:ln>
          </p:spPr>
          <p:txBody>
            <a:bodyPr spcFirstLastPara="1" wrap="square" lIns="72000" tIns="72000" rIns="72000" bIns="72000" rtlCol="0" anchor="t" anchorCtr="0">
              <a:noAutofit/>
            </a:bodyPr>
            <a:lstStyle/>
            <a:p>
              <a:pPr marL="171450" indent="-171450" algn="l"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endParaRPr lang="en-IN" sz="1200"/>
            </a:p>
          </p:txBody>
        </p:sp>
        <p:sp>
          <p:nvSpPr>
            <p:cNvPr id="18" name="Shape 11"/>
            <p:cNvSpPr/>
            <p:nvPr/>
          </p:nvSpPr>
          <p:spPr>
            <a:xfrm>
              <a:off x="7251337" y="3186431"/>
              <a:ext cx="476251" cy="476251"/>
            </a:xfrm>
            <a:prstGeom prst="ellipse">
              <a:avLst/>
            </a:prstGeom>
            <a:solidFill>
              <a:schemeClr val="bg2"/>
            </a:solidFill>
            <a:ln/>
          </p:spPr>
          <p:txBody>
            <a:bodyPr/>
            <a:lstStyle/>
            <a:p>
              <a:endParaRPr lang="en-IN" sz="2400"/>
            </a:p>
          </p:txBody>
        </p:sp>
        <p:sp>
          <p:nvSpPr>
            <p:cNvPr id="19" name="Text 12"/>
            <p:cNvSpPr/>
            <p:nvPr/>
          </p:nvSpPr>
          <p:spPr>
            <a:xfrm>
              <a:off x="7425342" y="3286056"/>
              <a:ext cx="128240" cy="276999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b="1">
                  <a:solidFill>
                    <a:srgbClr val="FFFFFF"/>
                  </a:solidFill>
                  <a:ea typeface="Noto Sans" pitchFamily="34" charset="-122"/>
                  <a:cs typeface="Noto Sans" pitchFamily="34" charset="-120"/>
                </a:rPr>
                <a:t>3</a:t>
              </a:r>
              <a:endParaRPr lang="en-US"/>
            </a:p>
          </p:txBody>
        </p:sp>
        <p:pic>
          <p:nvPicPr>
            <p:cNvPr id="20" name="Image 5" descr="preencoded.png"/>
            <p:cNvPicPr>
              <a:picLocks noChangeAspect="1"/>
            </p:cNvPicPr>
            <p:nvPr/>
          </p:nvPicPr>
          <p:blipFill>
            <a:blip r:embed="rId5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318012" y="3805555"/>
              <a:ext cx="342900" cy="342900"/>
            </a:xfrm>
            <a:prstGeom prst="rect">
              <a:avLst/>
            </a:prstGeom>
          </p:spPr>
        </p:pic>
        <p:sp>
          <p:nvSpPr>
            <p:cNvPr id="21" name="Text 13"/>
            <p:cNvSpPr/>
            <p:nvPr/>
          </p:nvSpPr>
          <p:spPr>
            <a:xfrm>
              <a:off x="6999841" y="4321471"/>
              <a:ext cx="979243" cy="254044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sz="1600" b="1">
                  <a:ea typeface="Noto Sans" pitchFamily="34" charset="-122"/>
                  <a:cs typeface="Noto Sans" pitchFamily="34" charset="-120"/>
                </a:rPr>
                <a:t>ANALYZE</a:t>
              </a:r>
              <a:endParaRPr lang="en-US" sz="1600"/>
            </a:p>
          </p:txBody>
        </p:sp>
        <p:sp>
          <p:nvSpPr>
            <p:cNvPr id="22" name="Text 14"/>
            <p:cNvSpPr/>
            <p:nvPr/>
          </p:nvSpPr>
          <p:spPr>
            <a:xfrm>
              <a:off x="6456952" y="4741814"/>
              <a:ext cx="2065020" cy="861774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>
              <a:spAutoFit/>
            </a:bodyPr>
            <a:lstStyle/>
            <a:p>
              <a:pPr marL="285750" indent="-285750" algn="ctr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>
                  <a:ea typeface="Noto Sans" pitchFamily="34" charset="-122"/>
                  <a:cs typeface="Noto Sans" pitchFamily="34" charset="-120"/>
                </a:rPr>
                <a:t>Data</a:t>
              </a:r>
              <a:r>
                <a:rPr lang="en-US" sz="1400">
                  <a:solidFill>
                    <a:srgbClr val="333333"/>
                  </a:solidFill>
                  <a:ea typeface="Noto Sans" pitchFamily="34" charset="-122"/>
                  <a:cs typeface="Noto Sans" pitchFamily="34" charset="-120"/>
                </a:rPr>
                <a:t> is processed and analyzed to generate insights and identify patterns</a:t>
              </a:r>
              <a:endParaRPr lang="en-US" sz="1400"/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05D010B6-14FA-B32C-1774-639D8D614D8F}"/>
              </a:ext>
            </a:extLst>
          </p:cNvPr>
          <p:cNvGrpSpPr/>
          <p:nvPr/>
        </p:nvGrpSpPr>
        <p:grpSpPr>
          <a:xfrm>
            <a:off x="9149485" y="2926080"/>
            <a:ext cx="2354608" cy="3230880"/>
            <a:chOff x="9149485" y="2926080"/>
            <a:chExt cx="2354608" cy="3230880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0F4B5A6-1ABC-CC60-4822-E76D38F20E83}"/>
                </a:ext>
              </a:extLst>
            </p:cNvPr>
            <p:cNvSpPr/>
            <p:nvPr/>
          </p:nvSpPr>
          <p:spPr>
            <a:xfrm>
              <a:off x="9149485" y="2926080"/>
              <a:ext cx="2354608" cy="3230880"/>
            </a:xfrm>
            <a:prstGeom prst="rect">
              <a:avLst/>
            </a:prstGeom>
            <a:solidFill>
              <a:srgbClr val="F2EFED"/>
            </a:solidFill>
            <a:ln>
              <a:solidFill>
                <a:schemeClr val="bg2"/>
              </a:solidFill>
            </a:ln>
          </p:spPr>
          <p:txBody>
            <a:bodyPr spcFirstLastPara="1" wrap="square" lIns="72000" tIns="72000" rIns="72000" bIns="72000" rtlCol="0" anchor="t" anchorCtr="0">
              <a:noAutofit/>
            </a:bodyPr>
            <a:lstStyle/>
            <a:p>
              <a:pPr marL="171450" indent="-171450" algn="l"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endParaRPr lang="en-IN" sz="1200"/>
            </a:p>
          </p:txBody>
        </p:sp>
        <p:sp>
          <p:nvSpPr>
            <p:cNvPr id="24" name="Shape 15"/>
            <p:cNvSpPr/>
            <p:nvPr/>
          </p:nvSpPr>
          <p:spPr>
            <a:xfrm>
              <a:off x="10088664" y="3186431"/>
              <a:ext cx="476251" cy="476251"/>
            </a:xfrm>
            <a:prstGeom prst="ellipse">
              <a:avLst/>
            </a:prstGeom>
            <a:solidFill>
              <a:schemeClr val="bg2"/>
            </a:solidFill>
            <a:ln/>
          </p:spPr>
          <p:txBody>
            <a:bodyPr/>
            <a:lstStyle/>
            <a:p>
              <a:endParaRPr lang="en-IN" sz="2400"/>
            </a:p>
          </p:txBody>
        </p:sp>
        <p:sp>
          <p:nvSpPr>
            <p:cNvPr id="25" name="Text 16"/>
            <p:cNvSpPr/>
            <p:nvPr/>
          </p:nvSpPr>
          <p:spPr>
            <a:xfrm>
              <a:off x="10262669" y="3286056"/>
              <a:ext cx="128240" cy="276999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b="1">
                  <a:solidFill>
                    <a:srgbClr val="FFFFFF"/>
                  </a:solidFill>
                  <a:ea typeface="Noto Sans" pitchFamily="34" charset="-122"/>
                  <a:cs typeface="Noto Sans" pitchFamily="34" charset="-120"/>
                </a:rPr>
                <a:t>4</a:t>
              </a:r>
              <a:endParaRPr lang="en-US"/>
            </a:p>
          </p:txBody>
        </p:sp>
        <p:pic>
          <p:nvPicPr>
            <p:cNvPr id="26" name="Image 7" descr="preencoded.png"/>
            <p:cNvPicPr>
              <a:picLocks noChangeAspect="1"/>
            </p:cNvPicPr>
            <p:nvPr/>
          </p:nvPicPr>
          <p:blipFill>
            <a:blip r:embed="rId6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0112477" y="3805555"/>
              <a:ext cx="428625" cy="342900"/>
            </a:xfrm>
            <a:prstGeom prst="rect">
              <a:avLst/>
            </a:prstGeom>
          </p:spPr>
        </p:pic>
        <p:sp>
          <p:nvSpPr>
            <p:cNvPr id="27" name="Text 17"/>
            <p:cNvSpPr/>
            <p:nvPr/>
          </p:nvSpPr>
          <p:spPr>
            <a:xfrm>
              <a:off x="10109582" y="4321471"/>
              <a:ext cx="434414" cy="254044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sz="1600" b="1">
                  <a:ea typeface="Noto Sans" pitchFamily="34" charset="-122"/>
                  <a:cs typeface="Noto Sans" pitchFamily="34" charset="-120"/>
                </a:rPr>
                <a:t>ACT</a:t>
              </a:r>
              <a:endParaRPr lang="en-US" sz="1600"/>
            </a:p>
          </p:txBody>
        </p:sp>
        <p:sp>
          <p:nvSpPr>
            <p:cNvPr id="28" name="Text 18"/>
            <p:cNvSpPr/>
            <p:nvPr/>
          </p:nvSpPr>
          <p:spPr>
            <a:xfrm>
              <a:off x="9294280" y="4741814"/>
              <a:ext cx="2065019" cy="861774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>
              <a:spAutoFit/>
            </a:bodyPr>
            <a:lstStyle/>
            <a:p>
              <a:pPr marL="285750" indent="-285750" algn="ctr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>
                  <a:ea typeface="Noto Sans" pitchFamily="34" charset="-122"/>
                  <a:cs typeface="Noto Sans" pitchFamily="34" charset="-120"/>
                </a:rPr>
                <a:t>Automated responses and actions are triggered based on the analysis results</a:t>
              </a:r>
              <a:endParaRPr lang="en-US" sz="1400"/>
            </a:p>
          </p:txBody>
        </p:sp>
      </p:grpSp>
      <p:sp>
        <p:nvSpPr>
          <p:cNvPr id="31" name="Title 30">
            <a:extLst>
              <a:ext uri="{FF2B5EF4-FFF2-40B4-BE49-F238E27FC236}">
                <a16:creationId xmlns:a16="http://schemas.microsoft.com/office/drawing/2014/main" id="{5B88F9C3-4F88-577F-4046-6A2415295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>
                <a:latin typeface="+mn-lt"/>
              </a:rPr>
              <a:t>How IoT Works</a:t>
            </a:r>
            <a:br>
              <a:rPr lang="en-IN">
                <a:latin typeface="+mn-lt"/>
              </a:rPr>
            </a:br>
            <a:endParaRPr lang="en-IN">
              <a:latin typeface="+mn-lt"/>
            </a:endParaRPr>
          </a:p>
        </p:txBody>
      </p:sp>
      <p:sp>
        <p:nvSpPr>
          <p:cNvPr id="40" name="Date Placeholder 5">
            <a:extLst>
              <a:ext uri="{FF2B5EF4-FFF2-40B4-BE49-F238E27FC236}">
                <a16:creationId xmlns:a16="http://schemas.microsoft.com/office/drawing/2014/main" id="{84A55F8E-5913-947B-E94F-D8100B5E4A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41" name="Footer Placeholder 6">
            <a:extLst>
              <a:ext uri="{FF2B5EF4-FFF2-40B4-BE49-F238E27FC236}">
                <a16:creationId xmlns:a16="http://schemas.microsoft.com/office/drawing/2014/main" id="{B80901B5-FA48-3763-00BA-D90677FDBC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42" name="Slide Number Placeholder 7">
            <a:extLst>
              <a:ext uri="{FF2B5EF4-FFF2-40B4-BE49-F238E27FC236}">
                <a16:creationId xmlns:a16="http://schemas.microsoft.com/office/drawing/2014/main" id="{DDD60470-883E-0F49-006E-3966D2549F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9</a:t>
            </a:fld>
            <a:endParaRPr lang="de-DE"/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694906B8-B38E-7A67-B83E-2CEE2F9725CC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>
            <a:off x="2992114" y="4541520"/>
            <a:ext cx="482718" cy="0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44F8EC91-A35F-0316-D9DE-23A055E2E78F}"/>
              </a:ext>
            </a:extLst>
          </p:cNvPr>
          <p:cNvCxnSpPr>
            <a:cxnSpLocks/>
            <a:stCxn id="3" idx="3"/>
            <a:endCxn id="29" idx="1"/>
          </p:cNvCxnSpPr>
          <p:nvPr/>
        </p:nvCxnSpPr>
        <p:spPr>
          <a:xfrm>
            <a:off x="5829440" y="4541520"/>
            <a:ext cx="482718" cy="0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ED3112B0-5502-2EB1-8E71-17B420EEE718}"/>
              </a:ext>
            </a:extLst>
          </p:cNvPr>
          <p:cNvCxnSpPr>
            <a:cxnSpLocks/>
            <a:stCxn id="29" idx="3"/>
            <a:endCxn id="30" idx="1"/>
          </p:cNvCxnSpPr>
          <p:nvPr/>
        </p:nvCxnSpPr>
        <p:spPr>
          <a:xfrm>
            <a:off x="8666766" y="4541520"/>
            <a:ext cx="482719" cy="0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91440" y="914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t>🔊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FALLBACK_LAYOUT" val="33"/>
  <p:tag name="MIO_SHOW_DATE" val="True"/>
  <p:tag name="MIO_SHOW_FOOTER" val="True"/>
  <p:tag name="MIO_SHOW_PAGENUMBER" val="True"/>
  <p:tag name="MIO_AVOID_BLANK_LAYOUT" val="True"/>
  <p:tag name="MIO_CD_LAYOUT_VALID_AREA" val="False"/>
  <p:tag name="MIO_EMBED_FONT" val="False"/>
  <p:tag name="MIO_MATCH_COLOR_SCHEME" val="False"/>
  <p:tag name="MIO_NUMBER_OF_VALID_LAYOUTS" val="35"/>
  <p:tag name="MIO_EKGUID" val="edeb9cd7-8a1c-412f-aeab-9ed15fc766fe"/>
  <p:tag name="MIO_VERSION" val="10.05.2023 23:04:33"/>
  <p:tag name="MIO_DBID" val="B0276BA4-59E9-4986-A471-827C5A70C980"/>
  <p:tag name="MIO_OBJECTNAME" val="TUV SUD PowerPoint Template EN"/>
  <p:tag name="MIO_LASTDOWNLOADED" val="22.05.2023 11:00:39.693"/>
  <p:tag name="MIO_CDID" val="9a3f0e0d-aec2-40de-9b67-a7516033015b"/>
</p:tagLst>
</file>

<file path=ppt/theme/theme1.xml><?xml version="1.0" encoding="utf-8"?>
<a:theme xmlns:a="http://schemas.openxmlformats.org/drawingml/2006/main" name="Office">
  <a:themeElements>
    <a:clrScheme name="TÜV Süd">
      <a:dk1>
        <a:srgbClr val="000000"/>
      </a:dk1>
      <a:lt1>
        <a:srgbClr val="FFFFFF"/>
      </a:lt1>
      <a:dk2>
        <a:srgbClr val="F2EFED"/>
      </a:dk2>
      <a:lt2>
        <a:srgbClr val="0046AD"/>
      </a:lt2>
      <a:accent1>
        <a:srgbClr val="0B253B"/>
      </a:accent1>
      <a:accent2>
        <a:srgbClr val="0046AD"/>
      </a:accent2>
      <a:accent3>
        <a:srgbClr val="0072CE"/>
      </a:accent3>
      <a:accent4>
        <a:srgbClr val="92C1E9"/>
      </a:accent4>
      <a:accent5>
        <a:srgbClr val="02ECA6"/>
      </a:accent5>
      <a:accent6>
        <a:srgbClr val="FF774B"/>
      </a:accent6>
      <a:hlink>
        <a:srgbClr val="000000"/>
      </a:hlink>
      <a:folHlink>
        <a:srgbClr val="000000"/>
      </a:folHlink>
    </a:clrScheme>
    <a:fontScheme name="TÜV Sü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2EFED"/>
        </a:solidFill>
        <a:ln>
          <a:noFill/>
        </a:ln>
      </a:spPr>
      <a:bodyPr spcFirstLastPara="1" wrap="square" lIns="72000" tIns="72000" rIns="72000" bIns="72000" anchor="t" anchorCtr="0">
        <a:noAutofit/>
      </a:bodyPr>
      <a:lstStyle>
        <a:defPPr marL="171450" indent="-171450" algn="l">
          <a:spcAft>
            <a:spcPts val="600"/>
          </a:spcAft>
          <a:buClr>
            <a:schemeClr val="bg2"/>
          </a:buClr>
          <a:buFont typeface="Arial" panose="020B0604020202020204" pitchFamily="34" charset="0"/>
          <a:buChar char="•"/>
          <a:defRPr sz="1200" dirty="0"/>
        </a:defPPr>
      </a:lst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Brown">
      <a:srgbClr val="C06D3E"/>
    </a:custClr>
    <a:custClr name="Yellow">
      <a:srgbClr val="FFDF19"/>
    </a:custClr>
    <a:custClr name="Tangerine">
      <a:srgbClr val="FAB434"/>
    </a:custClr>
    <a:custClr name="Green">
      <a:srgbClr val="00B171"/>
    </a:custClr>
  </a:custClrLst>
  <a:extLst>
    <a:ext uri="{05A4C25C-085E-4340-85A3-A5531E510DB2}">
      <thm15:themeFamily xmlns:thm15="http://schemas.microsoft.com/office/thememl/2012/main" name="Default Theme.pptx" id="{D38BD9A9-C4F7-45CE-B38F-72917AA8E630}" vid="{DF0D6D9C-76F8-488E-991E-AA6C35302D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'1.0' encoding='UTF-8' standalone='yes'?>
<Relationships xmlns="http://schemas.openxmlformats.org/package/2006/relationships"><Relationship Id="rId1" Type="http://schemas.microsoft.com/office/2011/relationships/webextension" Target="webextension1.xml"/><Relationship Id="rId2" Type="http://schemas.microsoft.com/office/2011/relationships/webextension" Target="webextension2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3">
    <wetp:webextensionref xmlns:r="http://schemas.openxmlformats.org/officeDocument/2006/relationships" r:id="rId1"/>
  </wetp:taskpane>
  <wetp:taskpane dockstate="right" visibility="0" width="525" row="3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FBDECE32-B9B8-4E53-870C-C021C1A2209B}">
  <we:reference id="WA200007130" version="1.0.0.1" store="Omex" storeType="OMEX"/>
  <we:alternateReferences>
    <we:reference id="WA200007130" version="1.0.0.1" store="WA200007130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6C20CA81-9DAD-4ECE-81A2-DDC7AD97C971}">
  <we:reference id="wa104381411" version="2.4.5.0" store="en-US" storeType="OMEX"/>
  <we:alternateReferences>
    <we:reference id="WA104381411" version="2.4.5.0" store="WA104381411" storeType="OMEX"/>
  </we:alternateReferences>
  <we:properties/>
  <we:bindings/>
  <we:snapshot xmlns:r="http://schemas.openxmlformats.org/officeDocument/2006/relationships"/>
</we:webextension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D034FB451316C43BE0ED2284F1E9CA1" ma:contentTypeVersion="8" ma:contentTypeDescription="Create a new document." ma:contentTypeScope="" ma:versionID="f804a265007febf9ae7f6619af6c8fcf">
  <xsd:schema xmlns:xsd="http://www.w3.org/2001/XMLSchema" xmlns:xs="http://www.w3.org/2001/XMLSchema" xmlns:p="http://schemas.microsoft.com/office/2006/metadata/properties" xmlns:ns2="5e6a2098-30cc-41e9-ab6f-1bde82815074" targetNamespace="http://schemas.microsoft.com/office/2006/metadata/properties" ma:root="true" ma:fieldsID="3950e3f5c720e95a715715e7bfeff178" ns2:_="">
    <xsd:import namespace="5e6a2098-30cc-41e9-ab6f-1bde8281507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6a2098-30cc-41e9-ab6f-1bde8281507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15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6BD7F8E-BC9E-4C13-9E53-569EEEC0A26E}">
  <ds:schemaRefs>
    <ds:schemaRef ds:uri="5e6a2098-30cc-41e9-ab6f-1bde8281507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4F51986-8EC8-4A60-872F-8C4036992884}">
  <ds:schemaRefs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terms/"/>
    <ds:schemaRef ds:uri="http://schemas.microsoft.com/office/infopath/2007/PartnerControls"/>
    <ds:schemaRef ds:uri="http://purl.org/dc/dcmitype/"/>
    <ds:schemaRef ds:uri="http://purl.org/dc/elements/1.1/"/>
    <ds:schemaRef ds:uri="5e6a2098-30cc-41e9-ab6f-1bde82815074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CD3C4655-52CC-40D7-945A-AE0F11B3DD5E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0d2a6053-e113-42e7-9169-f5cbed7a941f}" enabled="0" method="" siteId="{0d2a6053-e113-42e7-9169-f5cbed7a941f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2</TotalTime>
  <Words>1291</Words>
  <Application>Microsoft Office PowerPoint</Application>
  <PresentationFormat>Widescreen</PresentationFormat>
  <Paragraphs>216</Paragraphs>
  <Slides>18</Slides>
  <Notes>1</Notes>
  <HiddenSlides>0</HiddenSlides>
  <MMClips>2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2" baseType="lpstr">
      <vt:lpstr>Aptos</vt:lpstr>
      <vt:lpstr>Arial</vt:lpstr>
      <vt:lpstr>Noto Sans</vt:lpstr>
      <vt:lpstr>Office</vt:lpstr>
      <vt:lpstr>Industrial IoT</vt:lpstr>
      <vt:lpstr>Industrial Internet of Things</vt:lpstr>
      <vt:lpstr>Introduction to IoT &amp; IIoT</vt:lpstr>
      <vt:lpstr>Learning Objective</vt:lpstr>
      <vt:lpstr>Internet of Things</vt:lpstr>
      <vt:lpstr>Internet: Network</vt:lpstr>
      <vt:lpstr>Things: Physical Devices</vt:lpstr>
      <vt:lpstr>What is Internet of Things?</vt:lpstr>
      <vt:lpstr>How IoT Works </vt:lpstr>
      <vt:lpstr>Industrial Internet of Things</vt:lpstr>
      <vt:lpstr>Industrial Network   +</vt:lpstr>
      <vt:lpstr>What is IIoT? Connected Machines in Industry </vt:lpstr>
      <vt:lpstr>Evolution: M2M → IoT → IIoT How Industry Connectivity Has Evolved </vt:lpstr>
      <vt:lpstr>How IIoT Works - Workflow The Industrial IoT Process Flow </vt:lpstr>
      <vt:lpstr>Key Differences between Consumer IoT and IIoT </vt:lpstr>
      <vt:lpstr>How IIOT drive Industry4.0</vt:lpstr>
      <vt:lpstr>Summary </vt:lpstr>
      <vt:lpstr>Thank you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dustrial Automation - Module 0 V1 (1)</dc:title>
  <dc:creator>Krishna  Patel</dc:creator>
  <cp:lastModifiedBy>Anshu Pandey</cp:lastModifiedBy>
  <cp:revision>11</cp:revision>
  <dcterms:created xsi:type="dcterms:W3CDTF">2025-06-03T11:05:49Z</dcterms:created>
  <dcterms:modified xsi:type="dcterms:W3CDTF">2025-07-29T04:17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D034FB451316C43BE0ED2284F1E9CA1</vt:lpwstr>
  </property>
  <property fmtid="{D5CDD505-2E9C-101B-9397-08002B2CF9AE}" pid="3" name="MSIP_Label_948094c8-480e-400b-91c4-c984b7e20814_Enabled">
    <vt:lpwstr>true</vt:lpwstr>
  </property>
  <property fmtid="{D5CDD505-2E9C-101B-9397-08002B2CF9AE}" pid="4" name="MSIP_Label_948094c8-480e-400b-91c4-c984b7e20814_SetDate">
    <vt:lpwstr>2025-06-30T07:16:44Z</vt:lpwstr>
  </property>
  <property fmtid="{D5CDD505-2E9C-101B-9397-08002B2CF9AE}" pid="5" name="MSIP_Label_948094c8-480e-400b-91c4-c984b7e20814_Method">
    <vt:lpwstr>Standard</vt:lpwstr>
  </property>
  <property fmtid="{D5CDD505-2E9C-101B-9397-08002B2CF9AE}" pid="6" name="MSIP_Label_948094c8-480e-400b-91c4-c984b7e20814_Name">
    <vt:lpwstr>948094c8-480e-400b-91c4-c984b7e20814</vt:lpwstr>
  </property>
  <property fmtid="{D5CDD505-2E9C-101B-9397-08002B2CF9AE}" pid="7" name="MSIP_Label_948094c8-480e-400b-91c4-c984b7e20814_SiteId">
    <vt:lpwstr>a1109567-0815-4e1f-88af-e23555482aaa</vt:lpwstr>
  </property>
  <property fmtid="{D5CDD505-2E9C-101B-9397-08002B2CF9AE}" pid="8" name="MSIP_Label_948094c8-480e-400b-91c4-c984b7e20814_ActionId">
    <vt:lpwstr>c91d8008-f962-41ca-9de8-904bfa60d32a</vt:lpwstr>
  </property>
  <property fmtid="{D5CDD505-2E9C-101B-9397-08002B2CF9AE}" pid="9" name="MSIP_Label_948094c8-480e-400b-91c4-c984b7e20814_ContentBits">
    <vt:lpwstr>0</vt:lpwstr>
  </property>
  <property fmtid="{D5CDD505-2E9C-101B-9397-08002B2CF9AE}" pid="10" name="MSIP_Label_948094c8-480e-400b-91c4-c984b7e20814_Tag">
    <vt:lpwstr>10, 3, 0, 1</vt:lpwstr>
  </property>
</Properties>
</file>